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9" r:id="rId4"/>
  </p:sldMasterIdLst>
  <p:notesMasterIdLst>
    <p:notesMasterId r:id="rId47"/>
  </p:notesMasterIdLst>
  <p:sldIdLst>
    <p:sldId id="382" r:id="rId5"/>
    <p:sldId id="470" r:id="rId6"/>
    <p:sldId id="451" r:id="rId7"/>
    <p:sldId id="461" r:id="rId8"/>
    <p:sldId id="462" r:id="rId9"/>
    <p:sldId id="463" r:id="rId10"/>
    <p:sldId id="468" r:id="rId11"/>
    <p:sldId id="469" r:id="rId12"/>
    <p:sldId id="472" r:id="rId13"/>
    <p:sldId id="435" r:id="rId14"/>
    <p:sldId id="357" r:id="rId15"/>
    <p:sldId id="477" r:id="rId16"/>
    <p:sldId id="447" r:id="rId17"/>
    <p:sldId id="444" r:id="rId18"/>
    <p:sldId id="454" r:id="rId19"/>
    <p:sldId id="445" r:id="rId20"/>
    <p:sldId id="476" r:id="rId21"/>
    <p:sldId id="473" r:id="rId22"/>
    <p:sldId id="479" r:id="rId23"/>
    <p:sldId id="428" r:id="rId24"/>
    <p:sldId id="429" r:id="rId25"/>
    <p:sldId id="430" r:id="rId26"/>
    <p:sldId id="433" r:id="rId27"/>
    <p:sldId id="431" r:id="rId28"/>
    <p:sldId id="434" r:id="rId29"/>
    <p:sldId id="441" r:id="rId30"/>
    <p:sldId id="387" r:id="rId31"/>
    <p:sldId id="478" r:id="rId32"/>
    <p:sldId id="442" r:id="rId33"/>
    <p:sldId id="359" r:id="rId34"/>
    <p:sldId id="440" r:id="rId35"/>
    <p:sldId id="389" r:id="rId36"/>
    <p:sldId id="390" r:id="rId37"/>
    <p:sldId id="437" r:id="rId38"/>
    <p:sldId id="438" r:id="rId39"/>
    <p:sldId id="439" r:id="rId40"/>
    <p:sldId id="457" r:id="rId41"/>
    <p:sldId id="456" r:id="rId42"/>
    <p:sldId id="475" r:id="rId43"/>
    <p:sldId id="465" r:id="rId44"/>
    <p:sldId id="459" r:id="rId45"/>
    <p:sldId id="480" r:id="rId4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647542-6075-FFB5-0C5E-602CEED34230}" name="Fitzgerald, Madeline" initials="MF" userId="S::MMF135@pitt.edu::c680c3b0-1f97-40c6-b06e-80efdcdb988b" providerId="AD"/>
  <p188:author id="{F9526448-A7DB-6277-0E16-E8522E9D7DC0}" name="Priyam Somani" initials="PS" userId="8a115662f918b979" providerId="Windows Live"/>
  <p188:author id="{69AF514E-D0D8-7B48-00B9-5BF456D1944E}" name="Chris Gassman (he/him), CSB" initials="CC" userId="S::cjg125@pitt.edu::255d5b90-e4b1-47f3-87d9-bbdebc731cf9" providerId="AD"/>
  <p188:author id="{D339EA66-9337-EEE6-F075-6817B671229D}" name="Somani, Priyam" initials="SP" userId="S::prs226@pitt.edu::fd9ca880-d0a6-4843-ba37-4bf7454632fe" providerId="AD"/>
  <p188:author id="{68E73774-B6CC-42B6-78C0-6B9B0B076F2F}" name="Somani, Priyam" initials="PS" userId="S::PRS226@pitt.edu::fd9ca880-d0a6-4843-ba37-4bf7454632fe" providerId="AD"/>
  <p188:author id="{CBB07396-E040-B5D5-19B6-10BDECCE7B4C}" name="Fitzgerald, Madeline" initials="FM" userId="S::mmf135@pitt.edu::c680c3b0-1f97-40c6-b06e-80efdcdb988b" providerId="AD"/>
  <p188:author id="{C310D2EB-7E74-C0C8-4CF3-2FEDECD00237}" name="Chris Gassman (he/him), CSB" initials="CG" userId="S::CJG125@pitt.edu::255d5b90-e4b1-47f3-87d9-bbdebc731c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7F7F7"/>
    <a:srgbClr val="FFE9B9"/>
    <a:srgbClr val="FFDF97"/>
    <a:srgbClr val="E5EEFF"/>
    <a:srgbClr val="CDDFFF"/>
    <a:srgbClr val="E7C7A9"/>
    <a:srgbClr val="FFE3A4"/>
    <a:srgbClr val="6EA1FF"/>
    <a:srgbClr val="D9D9D9"/>
    <a:srgbClr val="0035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6025A6-4424-DC28-03A3-2D7131D7CC43}" v="1" dt="2025-06-06T18:30:25.2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tzgerald, Madeline" userId="c680c3b0-1f97-40c6-b06e-80efdcdb988b" providerId="ADAL" clId="{7D7F6A71-8EE9-4312-A690-2D5603A3A30C}"/>
    <pc:docChg chg="undo custSel addSld delSld modSld sldOrd modMainMaster">
      <pc:chgData name="Fitzgerald, Madeline" userId="c680c3b0-1f97-40c6-b06e-80efdcdb988b" providerId="ADAL" clId="{7D7F6A71-8EE9-4312-A690-2D5603A3A30C}" dt="2025-05-28T19:37:51.668" v="1351" actId="27636"/>
      <pc:docMkLst>
        <pc:docMk/>
      </pc:docMkLst>
      <pc:sldChg chg="addSp delSp modSp mod">
        <pc:chgData name="Fitzgerald, Madeline" userId="c680c3b0-1f97-40c6-b06e-80efdcdb988b" providerId="ADAL" clId="{7D7F6A71-8EE9-4312-A690-2D5603A3A30C}" dt="2025-05-28T19:18:30.487" v="659"/>
        <pc:sldMkLst>
          <pc:docMk/>
          <pc:sldMk cId="3848777021" sldId="359"/>
        </pc:sldMkLst>
        <pc:spChg chg="del mod">
          <ac:chgData name="Fitzgerald, Madeline" userId="c680c3b0-1f97-40c6-b06e-80efdcdb988b" providerId="ADAL" clId="{7D7F6A71-8EE9-4312-A690-2D5603A3A30C}" dt="2025-05-28T19:15:56.572" v="530" actId="478"/>
          <ac:spMkLst>
            <pc:docMk/>
            <pc:sldMk cId="3848777021" sldId="359"/>
            <ac:spMk id="2" creationId="{EC8D77D6-A2C7-812E-F3AD-5420C2FD8569}"/>
          </ac:spMkLst>
        </pc:spChg>
        <pc:spChg chg="del">
          <ac:chgData name="Fitzgerald, Madeline" userId="c680c3b0-1f97-40c6-b06e-80efdcdb988b" providerId="ADAL" clId="{7D7F6A71-8EE9-4312-A690-2D5603A3A30C}" dt="2025-05-28T19:14:52.508" v="459" actId="478"/>
          <ac:spMkLst>
            <pc:docMk/>
            <pc:sldMk cId="3848777021" sldId="359"/>
            <ac:spMk id="3" creationId="{C7025FA0-72B7-8235-3082-2360CA4EEC0D}"/>
          </ac:spMkLst>
        </pc:spChg>
        <pc:spChg chg="del">
          <ac:chgData name="Fitzgerald, Madeline" userId="c680c3b0-1f97-40c6-b06e-80efdcdb988b" providerId="ADAL" clId="{7D7F6A71-8EE9-4312-A690-2D5603A3A30C}" dt="2025-05-28T19:14:54.583" v="460" actId="478"/>
          <ac:spMkLst>
            <pc:docMk/>
            <pc:sldMk cId="3848777021" sldId="359"/>
            <ac:spMk id="6" creationId="{1CEDB6C0-47F8-6A70-F4AA-159BAA8E8E65}"/>
          </ac:spMkLst>
        </pc:spChg>
        <pc:spChg chg="add mod">
          <ac:chgData name="Fitzgerald, Madeline" userId="c680c3b0-1f97-40c6-b06e-80efdcdb988b" providerId="ADAL" clId="{7D7F6A71-8EE9-4312-A690-2D5603A3A30C}" dt="2025-05-28T19:15:53.516" v="529" actId="20577"/>
          <ac:spMkLst>
            <pc:docMk/>
            <pc:sldMk cId="3848777021" sldId="359"/>
            <ac:spMk id="7" creationId="{92B777D1-D369-2FC3-85A4-C80BBDF9BF1C}"/>
          </ac:spMkLst>
        </pc:spChg>
        <pc:spChg chg="add del mod">
          <ac:chgData name="Fitzgerald, Madeline" userId="c680c3b0-1f97-40c6-b06e-80efdcdb988b" providerId="ADAL" clId="{7D7F6A71-8EE9-4312-A690-2D5603A3A30C}" dt="2025-05-28T19:15:59.183" v="531" actId="478"/>
          <ac:spMkLst>
            <pc:docMk/>
            <pc:sldMk cId="3848777021" sldId="359"/>
            <ac:spMk id="9" creationId="{6CC0DAD9-85B7-B5C4-A4F2-6FFE323DAD70}"/>
          </ac:spMkLst>
        </pc:spChg>
        <pc:spChg chg="add mod">
          <ac:chgData name="Fitzgerald, Madeline" userId="c680c3b0-1f97-40c6-b06e-80efdcdb988b" providerId="ADAL" clId="{7D7F6A71-8EE9-4312-A690-2D5603A3A30C}" dt="2025-05-28T19:18:30.487" v="659"/>
          <ac:spMkLst>
            <pc:docMk/>
            <pc:sldMk cId="3848777021" sldId="359"/>
            <ac:spMk id="11" creationId="{37B4DF2D-B83B-61AD-936D-E9FD5A4CB854}"/>
          </ac:spMkLst>
        </pc:spChg>
        <pc:picChg chg="add mod">
          <ac:chgData name="Fitzgerald, Madeline" userId="c680c3b0-1f97-40c6-b06e-80efdcdb988b" providerId="ADAL" clId="{7D7F6A71-8EE9-4312-A690-2D5603A3A30C}" dt="2025-05-28T19:17:18.184" v="636"/>
          <ac:picMkLst>
            <pc:docMk/>
            <pc:sldMk cId="3848777021" sldId="359"/>
            <ac:picMk id="10" creationId="{0365705E-BD42-D00B-DFD4-781D8F7C2381}"/>
          </ac:picMkLst>
        </pc:picChg>
      </pc:sldChg>
      <pc:sldChg chg="addSp delSp modSp mod">
        <pc:chgData name="Fitzgerald, Madeline" userId="c680c3b0-1f97-40c6-b06e-80efdcdb988b" providerId="ADAL" clId="{7D7F6A71-8EE9-4312-A690-2D5603A3A30C}" dt="2025-05-28T19:12:21.538" v="410" actId="1076"/>
        <pc:sldMkLst>
          <pc:docMk/>
          <pc:sldMk cId="1561694634" sldId="387"/>
        </pc:sldMkLst>
        <pc:spChg chg="add mod">
          <ac:chgData name="Fitzgerald, Madeline" userId="c680c3b0-1f97-40c6-b06e-80efdcdb988b" providerId="ADAL" clId="{7D7F6A71-8EE9-4312-A690-2D5603A3A30C}" dt="2025-05-28T19:10:30.355" v="376" actId="20577"/>
          <ac:spMkLst>
            <pc:docMk/>
            <pc:sldMk cId="1561694634" sldId="387"/>
            <ac:spMk id="2" creationId="{06099706-2383-3FB8-56AA-AAEBB4F7906C}"/>
          </ac:spMkLst>
        </pc:spChg>
        <pc:spChg chg="mod">
          <ac:chgData name="Fitzgerald, Madeline" userId="c680c3b0-1f97-40c6-b06e-80efdcdb988b" providerId="ADAL" clId="{7D7F6A71-8EE9-4312-A690-2D5603A3A30C}" dt="2025-05-28T19:12:07.053" v="408" actId="11"/>
          <ac:spMkLst>
            <pc:docMk/>
            <pc:sldMk cId="1561694634" sldId="387"/>
            <ac:spMk id="15" creationId="{F215EFF2-C53B-92F2-A5F5-A6264917DB23}"/>
          </ac:spMkLst>
        </pc:spChg>
        <pc:spChg chg="del">
          <ac:chgData name="Fitzgerald, Madeline" userId="c680c3b0-1f97-40c6-b06e-80efdcdb988b" providerId="ADAL" clId="{7D7F6A71-8EE9-4312-A690-2D5603A3A30C}" dt="2025-05-28T19:10:05.673" v="362" actId="478"/>
          <ac:spMkLst>
            <pc:docMk/>
            <pc:sldMk cId="1561694634" sldId="387"/>
            <ac:spMk id="17" creationId="{8A213EEF-DC7A-255E-95BE-7B9146C71E43}"/>
          </ac:spMkLst>
        </pc:spChg>
        <pc:picChg chg="mod">
          <ac:chgData name="Fitzgerald, Madeline" userId="c680c3b0-1f97-40c6-b06e-80efdcdb988b" providerId="ADAL" clId="{7D7F6A71-8EE9-4312-A690-2D5603A3A30C}" dt="2025-05-28T19:12:21.538" v="410" actId="1076"/>
          <ac:picMkLst>
            <pc:docMk/>
            <pc:sldMk cId="1561694634" sldId="387"/>
            <ac:picMk id="16" creationId="{C86865B6-7FF7-1B07-A850-CEF1FE80EF55}"/>
          </ac:picMkLst>
        </pc:picChg>
      </pc:sldChg>
      <pc:sldChg chg="addSp delSp modSp mod">
        <pc:chgData name="Fitzgerald, Madeline" userId="c680c3b0-1f97-40c6-b06e-80efdcdb988b" providerId="ADAL" clId="{7D7F6A71-8EE9-4312-A690-2D5603A3A30C}" dt="2025-05-28T19:21:13.977" v="787"/>
        <pc:sldMkLst>
          <pc:docMk/>
          <pc:sldMk cId="2675709549" sldId="389"/>
        </pc:sldMkLst>
        <pc:spChg chg="del mod">
          <ac:chgData name="Fitzgerald, Madeline" userId="c680c3b0-1f97-40c6-b06e-80efdcdb988b" providerId="ADAL" clId="{7D7F6A71-8EE9-4312-A690-2D5603A3A30C}" dt="2025-05-28T19:19:12.989" v="701" actId="478"/>
          <ac:spMkLst>
            <pc:docMk/>
            <pc:sldMk cId="2675709549" sldId="389"/>
            <ac:spMk id="2" creationId="{F610C185-DA75-1741-30DB-280D33772FDC}"/>
          </ac:spMkLst>
        </pc:spChg>
        <pc:spChg chg="del">
          <ac:chgData name="Fitzgerald, Madeline" userId="c680c3b0-1f97-40c6-b06e-80efdcdb988b" providerId="ADAL" clId="{7D7F6A71-8EE9-4312-A690-2D5603A3A30C}" dt="2025-05-28T19:19:07.050" v="698" actId="478"/>
          <ac:spMkLst>
            <pc:docMk/>
            <pc:sldMk cId="2675709549" sldId="389"/>
            <ac:spMk id="3" creationId="{EF1CF58D-39B4-5CFC-E24D-EB5041ABAB9E}"/>
          </ac:spMkLst>
        </pc:spChg>
        <pc:spChg chg="mod">
          <ac:chgData name="Fitzgerald, Madeline" userId="c680c3b0-1f97-40c6-b06e-80efdcdb988b" providerId="ADAL" clId="{7D7F6A71-8EE9-4312-A690-2D5603A3A30C}" dt="2025-05-28T19:19:53.701" v="708" actId="179"/>
          <ac:spMkLst>
            <pc:docMk/>
            <pc:sldMk cId="2675709549" sldId="389"/>
            <ac:spMk id="4" creationId="{8E397E96-55A3-DAC1-46B5-D2B555E474A4}"/>
          </ac:spMkLst>
        </pc:spChg>
        <pc:spChg chg="del">
          <ac:chgData name="Fitzgerald, Madeline" userId="c680c3b0-1f97-40c6-b06e-80efdcdb988b" providerId="ADAL" clId="{7D7F6A71-8EE9-4312-A690-2D5603A3A30C}" dt="2025-05-28T19:19:11.736" v="700" actId="478"/>
          <ac:spMkLst>
            <pc:docMk/>
            <pc:sldMk cId="2675709549" sldId="389"/>
            <ac:spMk id="5" creationId="{44077E1D-1F38-AECB-0935-1390D0125E4B}"/>
          </ac:spMkLst>
        </pc:spChg>
        <pc:spChg chg="add mod">
          <ac:chgData name="Fitzgerald, Madeline" userId="c680c3b0-1f97-40c6-b06e-80efdcdb988b" providerId="ADAL" clId="{7D7F6A71-8EE9-4312-A690-2D5603A3A30C}" dt="2025-05-28T19:18:35.743" v="660"/>
          <ac:spMkLst>
            <pc:docMk/>
            <pc:sldMk cId="2675709549" sldId="389"/>
            <ac:spMk id="7" creationId="{C3D0EC81-8FA2-7FB8-6CC3-2F92DBED4871}"/>
          </ac:spMkLst>
        </pc:spChg>
        <pc:spChg chg="add mod">
          <ac:chgData name="Fitzgerald, Madeline" userId="c680c3b0-1f97-40c6-b06e-80efdcdb988b" providerId="ADAL" clId="{7D7F6A71-8EE9-4312-A690-2D5603A3A30C}" dt="2025-05-28T19:19:03.288" v="697" actId="20577"/>
          <ac:spMkLst>
            <pc:docMk/>
            <pc:sldMk cId="2675709549" sldId="389"/>
            <ac:spMk id="8" creationId="{F7D16B3C-5B51-4E65-A85C-F5DD258DA0A9}"/>
          </ac:spMkLst>
        </pc:spChg>
        <pc:spChg chg="add del mod">
          <ac:chgData name="Fitzgerald, Madeline" userId="c680c3b0-1f97-40c6-b06e-80efdcdb988b" providerId="ADAL" clId="{7D7F6A71-8EE9-4312-A690-2D5603A3A30C}" dt="2025-05-28T19:19:10.645" v="699" actId="478"/>
          <ac:spMkLst>
            <pc:docMk/>
            <pc:sldMk cId="2675709549" sldId="389"/>
            <ac:spMk id="10" creationId="{0C9F7397-BA80-2C9A-CCE6-F86BBB0C1FF3}"/>
          </ac:spMkLst>
        </pc:spChg>
        <pc:picChg chg="mod">
          <ac:chgData name="Fitzgerald, Madeline" userId="c680c3b0-1f97-40c6-b06e-80efdcdb988b" providerId="ADAL" clId="{7D7F6A71-8EE9-4312-A690-2D5603A3A30C}" dt="2025-05-28T19:19:59.569" v="709" actId="1076"/>
          <ac:picMkLst>
            <pc:docMk/>
            <pc:sldMk cId="2675709549" sldId="389"/>
            <ac:picMk id="6" creationId="{846B0058-6849-093E-1925-890EA1168A7B}"/>
          </ac:picMkLst>
        </pc:picChg>
        <pc:picChg chg="add mod">
          <ac:chgData name="Fitzgerald, Madeline" userId="c680c3b0-1f97-40c6-b06e-80efdcdb988b" providerId="ADAL" clId="{7D7F6A71-8EE9-4312-A690-2D5603A3A30C}" dt="2025-05-28T19:21:13.977" v="787"/>
          <ac:picMkLst>
            <pc:docMk/>
            <pc:sldMk cId="2675709549" sldId="389"/>
            <ac:picMk id="11" creationId="{7FC76FBA-2452-D9F9-0ACE-E9733E8098B8}"/>
          </ac:picMkLst>
        </pc:picChg>
      </pc:sldChg>
      <pc:sldChg chg="addSp delSp modSp mod">
        <pc:chgData name="Fitzgerald, Madeline" userId="c680c3b0-1f97-40c6-b06e-80efdcdb988b" providerId="ADAL" clId="{7D7F6A71-8EE9-4312-A690-2D5603A3A30C}" dt="2025-05-28T19:21:15.730" v="788"/>
        <pc:sldMkLst>
          <pc:docMk/>
          <pc:sldMk cId="2532721541" sldId="390"/>
        </pc:sldMkLst>
        <pc:spChg chg="del mod">
          <ac:chgData name="Fitzgerald, Madeline" userId="c680c3b0-1f97-40c6-b06e-80efdcdb988b" providerId="ADAL" clId="{7D7F6A71-8EE9-4312-A690-2D5603A3A30C}" dt="2025-05-28T19:20:10.216" v="710" actId="478"/>
          <ac:spMkLst>
            <pc:docMk/>
            <pc:sldMk cId="2532721541" sldId="390"/>
            <ac:spMk id="2" creationId="{021F0018-D4BB-8AC9-F6F5-A15591004682}"/>
          </ac:spMkLst>
        </pc:spChg>
        <pc:spChg chg="del mod">
          <ac:chgData name="Fitzgerald, Madeline" userId="c680c3b0-1f97-40c6-b06e-80efdcdb988b" providerId="ADAL" clId="{7D7F6A71-8EE9-4312-A690-2D5603A3A30C}" dt="2025-05-28T19:20:32.088" v="778" actId="478"/>
          <ac:spMkLst>
            <pc:docMk/>
            <pc:sldMk cId="2532721541" sldId="390"/>
            <ac:spMk id="3" creationId="{0A081D75-F7C7-037F-CAF4-7269255576F1}"/>
          </ac:spMkLst>
        </pc:spChg>
        <pc:spChg chg="mod">
          <ac:chgData name="Fitzgerald, Madeline" userId="c680c3b0-1f97-40c6-b06e-80efdcdb988b" providerId="ADAL" clId="{7D7F6A71-8EE9-4312-A690-2D5603A3A30C}" dt="2025-05-28T19:20:56.961" v="786" actId="113"/>
          <ac:spMkLst>
            <pc:docMk/>
            <pc:sldMk cId="2532721541" sldId="390"/>
            <ac:spMk id="4" creationId="{550E1B26-F917-6A96-21FD-AE913C7E8D85}"/>
          </ac:spMkLst>
        </pc:spChg>
        <pc:spChg chg="del">
          <ac:chgData name="Fitzgerald, Madeline" userId="c680c3b0-1f97-40c6-b06e-80efdcdb988b" providerId="ADAL" clId="{7D7F6A71-8EE9-4312-A690-2D5603A3A30C}" dt="2025-05-28T19:20:12.271" v="711" actId="478"/>
          <ac:spMkLst>
            <pc:docMk/>
            <pc:sldMk cId="2532721541" sldId="390"/>
            <ac:spMk id="5" creationId="{AC5F68C9-9C75-B17F-6AEB-C431411F6B50}"/>
          </ac:spMkLst>
        </pc:spChg>
        <pc:spChg chg="add mod">
          <ac:chgData name="Fitzgerald, Madeline" userId="c680c3b0-1f97-40c6-b06e-80efdcdb988b" providerId="ADAL" clId="{7D7F6A71-8EE9-4312-A690-2D5603A3A30C}" dt="2025-05-28T19:18:39.053" v="661"/>
          <ac:spMkLst>
            <pc:docMk/>
            <pc:sldMk cId="2532721541" sldId="390"/>
            <ac:spMk id="6" creationId="{DA964BCC-D9F8-B891-BA5C-1FB454917EFA}"/>
          </ac:spMkLst>
        </pc:spChg>
        <pc:spChg chg="add mod">
          <ac:chgData name="Fitzgerald, Madeline" userId="c680c3b0-1f97-40c6-b06e-80efdcdb988b" providerId="ADAL" clId="{7D7F6A71-8EE9-4312-A690-2D5603A3A30C}" dt="2025-05-28T19:20:28.845" v="777" actId="20577"/>
          <ac:spMkLst>
            <pc:docMk/>
            <pc:sldMk cId="2532721541" sldId="390"/>
            <ac:spMk id="7" creationId="{B33C0302-9C72-696D-D819-FBBBB5578EAC}"/>
          </ac:spMkLst>
        </pc:spChg>
        <pc:spChg chg="add del mod">
          <ac:chgData name="Fitzgerald, Madeline" userId="c680c3b0-1f97-40c6-b06e-80efdcdb988b" providerId="ADAL" clId="{7D7F6A71-8EE9-4312-A690-2D5603A3A30C}" dt="2025-05-28T19:20:34.418" v="779" actId="478"/>
          <ac:spMkLst>
            <pc:docMk/>
            <pc:sldMk cId="2532721541" sldId="390"/>
            <ac:spMk id="9" creationId="{F1109151-7F18-44B8-1AEA-28C80765E809}"/>
          </ac:spMkLst>
        </pc:spChg>
        <pc:picChg chg="add mod">
          <ac:chgData name="Fitzgerald, Madeline" userId="c680c3b0-1f97-40c6-b06e-80efdcdb988b" providerId="ADAL" clId="{7D7F6A71-8EE9-4312-A690-2D5603A3A30C}" dt="2025-05-28T19:21:15.730" v="788"/>
          <ac:picMkLst>
            <pc:docMk/>
            <pc:sldMk cId="2532721541" sldId="390"/>
            <ac:picMk id="10" creationId="{8C09BE9E-1C09-65BA-8558-C490F4FF676A}"/>
          </ac:picMkLst>
        </pc:picChg>
      </pc:sldChg>
      <pc:sldChg chg="del">
        <pc:chgData name="Fitzgerald, Madeline" userId="c680c3b0-1f97-40c6-b06e-80efdcdb988b" providerId="ADAL" clId="{7D7F6A71-8EE9-4312-A690-2D5603A3A30C}" dt="2025-05-28T18:37:52.724" v="119" actId="47"/>
        <pc:sldMkLst>
          <pc:docMk/>
          <pc:sldMk cId="755326323" sldId="392"/>
        </pc:sldMkLst>
      </pc:sldChg>
      <pc:sldChg chg="addSp delSp modSp mod">
        <pc:chgData name="Fitzgerald, Madeline" userId="c680c3b0-1f97-40c6-b06e-80efdcdb988b" providerId="ADAL" clId="{7D7F6A71-8EE9-4312-A690-2D5603A3A30C}" dt="2025-05-28T19:03:38.632" v="253" actId="207"/>
        <pc:sldMkLst>
          <pc:docMk/>
          <pc:sldMk cId="2734771092" sldId="428"/>
        </pc:sldMkLst>
        <pc:spChg chg="del mod">
          <ac:chgData name="Fitzgerald, Madeline" userId="c680c3b0-1f97-40c6-b06e-80efdcdb988b" providerId="ADAL" clId="{7D7F6A71-8EE9-4312-A690-2D5603A3A30C}" dt="2025-05-28T18:56:45.699" v="234" actId="478"/>
          <ac:spMkLst>
            <pc:docMk/>
            <pc:sldMk cId="2734771092" sldId="428"/>
            <ac:spMk id="2" creationId="{8D07A342-6152-0237-E643-D4D9F81E608B}"/>
          </ac:spMkLst>
        </pc:spChg>
        <pc:spChg chg="mod">
          <ac:chgData name="Fitzgerald, Madeline" userId="c680c3b0-1f97-40c6-b06e-80efdcdb988b" providerId="ADAL" clId="{7D7F6A71-8EE9-4312-A690-2D5603A3A30C}" dt="2025-05-28T19:03:38.632" v="253" actId="207"/>
          <ac:spMkLst>
            <pc:docMk/>
            <pc:sldMk cId="2734771092" sldId="428"/>
            <ac:spMk id="3" creationId="{9974FC10-5D05-BF98-0951-EABD5A9AA0B0}"/>
          </ac:spMkLst>
        </pc:spChg>
        <pc:spChg chg="add mod">
          <ac:chgData name="Fitzgerald, Madeline" userId="c680c3b0-1f97-40c6-b06e-80efdcdb988b" providerId="ADAL" clId="{7D7F6A71-8EE9-4312-A690-2D5603A3A30C}" dt="2025-05-28T18:56:11.446" v="163"/>
          <ac:spMkLst>
            <pc:docMk/>
            <pc:sldMk cId="2734771092" sldId="428"/>
            <ac:spMk id="4" creationId="{32C5889E-1C3D-EB3C-C0B4-70A4C4BC11AC}"/>
          </ac:spMkLst>
        </pc:spChg>
        <pc:spChg chg="add mod">
          <ac:chgData name="Fitzgerald, Madeline" userId="c680c3b0-1f97-40c6-b06e-80efdcdb988b" providerId="ADAL" clId="{7D7F6A71-8EE9-4312-A690-2D5603A3A30C}" dt="2025-05-28T18:56:39.108" v="232" actId="20577"/>
          <ac:spMkLst>
            <pc:docMk/>
            <pc:sldMk cId="2734771092" sldId="428"/>
            <ac:spMk id="5" creationId="{67B95E04-80C2-38AD-BE95-094E4D97118C}"/>
          </ac:spMkLst>
        </pc:spChg>
        <pc:spChg chg="add del mod">
          <ac:chgData name="Fitzgerald, Madeline" userId="c680c3b0-1f97-40c6-b06e-80efdcdb988b" providerId="ADAL" clId="{7D7F6A71-8EE9-4312-A690-2D5603A3A30C}" dt="2025-05-28T18:56:48.892" v="235" actId="478"/>
          <ac:spMkLst>
            <pc:docMk/>
            <pc:sldMk cId="2734771092" sldId="428"/>
            <ac:spMk id="9" creationId="{45BCDF34-0CB1-2553-3B00-69CCFE779D0E}"/>
          </ac:spMkLst>
        </pc:spChg>
      </pc:sldChg>
      <pc:sldChg chg="addSp delSp modSp mod">
        <pc:chgData name="Fitzgerald, Madeline" userId="c680c3b0-1f97-40c6-b06e-80efdcdb988b" providerId="ADAL" clId="{7D7F6A71-8EE9-4312-A690-2D5603A3A30C}" dt="2025-05-28T19:06:20.744" v="283" actId="15"/>
        <pc:sldMkLst>
          <pc:docMk/>
          <pc:sldMk cId="2949998840" sldId="429"/>
        </pc:sldMkLst>
        <pc:spChg chg="del">
          <ac:chgData name="Fitzgerald, Madeline" userId="c680c3b0-1f97-40c6-b06e-80efdcdb988b" providerId="ADAL" clId="{7D7F6A71-8EE9-4312-A690-2D5603A3A30C}" dt="2025-05-28T19:05:17.647" v="256" actId="478"/>
          <ac:spMkLst>
            <pc:docMk/>
            <pc:sldMk cId="2949998840" sldId="429"/>
            <ac:spMk id="2" creationId="{E1DC5D73-9E33-C6BA-CC13-388405962B55}"/>
          </ac:spMkLst>
        </pc:spChg>
        <pc:spChg chg="mod">
          <ac:chgData name="Fitzgerald, Madeline" userId="c680c3b0-1f97-40c6-b06e-80efdcdb988b" providerId="ADAL" clId="{7D7F6A71-8EE9-4312-A690-2D5603A3A30C}" dt="2025-05-28T19:06:20.744" v="283" actId="15"/>
          <ac:spMkLst>
            <pc:docMk/>
            <pc:sldMk cId="2949998840" sldId="429"/>
            <ac:spMk id="3" creationId="{39ADCF4D-B9E8-577D-6B82-2FE4E610C8FE}"/>
          </ac:spMkLst>
        </pc:spChg>
        <pc:spChg chg="add del mod">
          <ac:chgData name="Fitzgerald, Madeline" userId="c680c3b0-1f97-40c6-b06e-80efdcdb988b" providerId="ADAL" clId="{7D7F6A71-8EE9-4312-A690-2D5603A3A30C}" dt="2025-05-28T19:05:20.437" v="258" actId="478"/>
          <ac:spMkLst>
            <pc:docMk/>
            <pc:sldMk cId="2949998840" sldId="429"/>
            <ac:spMk id="4" creationId="{AFFF0845-93DE-25F9-F136-6322CA981993}"/>
          </ac:spMkLst>
        </pc:spChg>
        <pc:spChg chg="add del mod">
          <ac:chgData name="Fitzgerald, Madeline" userId="c680c3b0-1f97-40c6-b06e-80efdcdb988b" providerId="ADAL" clId="{7D7F6A71-8EE9-4312-A690-2D5603A3A30C}" dt="2025-05-28T19:05:18.875" v="257" actId="478"/>
          <ac:spMkLst>
            <pc:docMk/>
            <pc:sldMk cId="2949998840" sldId="429"/>
            <ac:spMk id="8" creationId="{5CA4A3D7-86EA-D57E-1578-14A1E9E7DC44}"/>
          </ac:spMkLst>
        </pc:spChg>
        <pc:spChg chg="add mod">
          <ac:chgData name="Fitzgerald, Madeline" userId="c680c3b0-1f97-40c6-b06e-80efdcdb988b" providerId="ADAL" clId="{7D7F6A71-8EE9-4312-A690-2D5603A3A30C}" dt="2025-05-28T19:05:21.666" v="259"/>
          <ac:spMkLst>
            <pc:docMk/>
            <pc:sldMk cId="2949998840" sldId="429"/>
            <ac:spMk id="9" creationId="{7D8AD30E-ABEB-021E-754D-5232ADA2410A}"/>
          </ac:spMkLst>
        </pc:spChg>
      </pc:sldChg>
      <pc:sldChg chg="addSp delSp modSp mod">
        <pc:chgData name="Fitzgerald, Madeline" userId="c680c3b0-1f97-40c6-b06e-80efdcdb988b" providerId="ADAL" clId="{7D7F6A71-8EE9-4312-A690-2D5603A3A30C}" dt="2025-05-28T19:07:14.653" v="302" actId="20577"/>
        <pc:sldMkLst>
          <pc:docMk/>
          <pc:sldMk cId="4148277725" sldId="430"/>
        </pc:sldMkLst>
        <pc:spChg chg="del">
          <ac:chgData name="Fitzgerald, Madeline" userId="c680c3b0-1f97-40c6-b06e-80efdcdb988b" providerId="ADAL" clId="{7D7F6A71-8EE9-4312-A690-2D5603A3A30C}" dt="2025-05-28T19:06:43.270" v="284" actId="478"/>
          <ac:spMkLst>
            <pc:docMk/>
            <pc:sldMk cId="4148277725" sldId="430"/>
            <ac:spMk id="2" creationId="{44E9A2C3-A504-0595-5B1E-F695CE8D2D69}"/>
          </ac:spMkLst>
        </pc:spChg>
        <pc:spChg chg="mod">
          <ac:chgData name="Fitzgerald, Madeline" userId="c680c3b0-1f97-40c6-b06e-80efdcdb988b" providerId="ADAL" clId="{7D7F6A71-8EE9-4312-A690-2D5603A3A30C}" dt="2025-05-28T19:07:14.653" v="302" actId="20577"/>
          <ac:spMkLst>
            <pc:docMk/>
            <pc:sldMk cId="4148277725" sldId="430"/>
            <ac:spMk id="3" creationId="{14BB3100-536C-5721-06B4-36A1AB6E5832}"/>
          </ac:spMkLst>
        </pc:spChg>
        <pc:spChg chg="add del mod">
          <ac:chgData name="Fitzgerald, Madeline" userId="c680c3b0-1f97-40c6-b06e-80efdcdb988b" providerId="ADAL" clId="{7D7F6A71-8EE9-4312-A690-2D5603A3A30C}" dt="2025-05-28T19:06:46.111" v="285" actId="478"/>
          <ac:spMkLst>
            <pc:docMk/>
            <pc:sldMk cId="4148277725" sldId="430"/>
            <ac:spMk id="7" creationId="{8699A685-4B36-457F-AC3F-F68402BCA538}"/>
          </ac:spMkLst>
        </pc:spChg>
        <pc:spChg chg="add mod">
          <ac:chgData name="Fitzgerald, Madeline" userId="c680c3b0-1f97-40c6-b06e-80efdcdb988b" providerId="ADAL" clId="{7D7F6A71-8EE9-4312-A690-2D5603A3A30C}" dt="2025-05-28T19:06:46.372" v="286"/>
          <ac:spMkLst>
            <pc:docMk/>
            <pc:sldMk cId="4148277725" sldId="430"/>
            <ac:spMk id="8" creationId="{F15A5147-7746-4FF4-061D-321D913776E5}"/>
          </ac:spMkLst>
        </pc:spChg>
      </pc:sldChg>
      <pc:sldChg chg="addSp delSp modSp mod">
        <pc:chgData name="Fitzgerald, Madeline" userId="c680c3b0-1f97-40c6-b06e-80efdcdb988b" providerId="ADAL" clId="{7D7F6A71-8EE9-4312-A690-2D5603A3A30C}" dt="2025-05-28T19:09:19.362" v="344" actId="14100"/>
        <pc:sldMkLst>
          <pc:docMk/>
          <pc:sldMk cId="2530414830" sldId="431"/>
        </pc:sldMkLst>
        <pc:spChg chg="del">
          <ac:chgData name="Fitzgerald, Madeline" userId="c680c3b0-1f97-40c6-b06e-80efdcdb988b" providerId="ADAL" clId="{7D7F6A71-8EE9-4312-A690-2D5603A3A30C}" dt="2025-05-28T19:08:44.261" v="330" actId="478"/>
          <ac:spMkLst>
            <pc:docMk/>
            <pc:sldMk cId="2530414830" sldId="431"/>
            <ac:spMk id="2" creationId="{9702465E-05FE-6FDC-54B5-FD83DECB270C}"/>
          </ac:spMkLst>
        </pc:spChg>
        <pc:spChg chg="mod">
          <ac:chgData name="Fitzgerald, Madeline" userId="c680c3b0-1f97-40c6-b06e-80efdcdb988b" providerId="ADAL" clId="{7D7F6A71-8EE9-4312-A690-2D5603A3A30C}" dt="2025-05-28T19:09:19.362" v="344" actId="14100"/>
          <ac:spMkLst>
            <pc:docMk/>
            <pc:sldMk cId="2530414830" sldId="431"/>
            <ac:spMk id="3" creationId="{32CFA78F-6782-4DD3-8F6E-8532C9C0A273}"/>
          </ac:spMkLst>
        </pc:spChg>
        <pc:spChg chg="add del mod">
          <ac:chgData name="Fitzgerald, Madeline" userId="c680c3b0-1f97-40c6-b06e-80efdcdb988b" providerId="ADAL" clId="{7D7F6A71-8EE9-4312-A690-2D5603A3A30C}" dt="2025-05-28T19:08:47.432" v="331" actId="478"/>
          <ac:spMkLst>
            <pc:docMk/>
            <pc:sldMk cId="2530414830" sldId="431"/>
            <ac:spMk id="7" creationId="{4662F36A-C6B7-F8D2-E184-E1D18739317B}"/>
          </ac:spMkLst>
        </pc:spChg>
        <pc:spChg chg="add mod">
          <ac:chgData name="Fitzgerald, Madeline" userId="c680c3b0-1f97-40c6-b06e-80efdcdb988b" providerId="ADAL" clId="{7D7F6A71-8EE9-4312-A690-2D5603A3A30C}" dt="2025-05-28T19:08:48.293" v="332"/>
          <ac:spMkLst>
            <pc:docMk/>
            <pc:sldMk cId="2530414830" sldId="431"/>
            <ac:spMk id="8" creationId="{3E85F06A-5273-DE2D-63B4-5736D5D3DB0A}"/>
          </ac:spMkLst>
        </pc:spChg>
      </pc:sldChg>
      <pc:sldChg chg="addSp delSp modSp mod">
        <pc:chgData name="Fitzgerald, Madeline" userId="c680c3b0-1f97-40c6-b06e-80efdcdb988b" providerId="ADAL" clId="{7D7F6A71-8EE9-4312-A690-2D5603A3A30C}" dt="2025-05-28T19:08:37.103" v="329" actId="1076"/>
        <pc:sldMkLst>
          <pc:docMk/>
          <pc:sldMk cId="2813832334" sldId="433"/>
        </pc:sldMkLst>
        <pc:spChg chg="del">
          <ac:chgData name="Fitzgerald, Madeline" userId="c680c3b0-1f97-40c6-b06e-80efdcdb988b" providerId="ADAL" clId="{7D7F6A71-8EE9-4312-A690-2D5603A3A30C}" dt="2025-05-28T19:07:26.282" v="303" actId="478"/>
          <ac:spMkLst>
            <pc:docMk/>
            <pc:sldMk cId="2813832334" sldId="433"/>
            <ac:spMk id="2" creationId="{2D670F49-C7D7-D7AC-5026-382CA52D9513}"/>
          </ac:spMkLst>
        </pc:spChg>
        <pc:spChg chg="mod">
          <ac:chgData name="Fitzgerald, Madeline" userId="c680c3b0-1f97-40c6-b06e-80efdcdb988b" providerId="ADAL" clId="{7D7F6A71-8EE9-4312-A690-2D5603A3A30C}" dt="2025-05-28T19:08:16.025" v="325" actId="14100"/>
          <ac:spMkLst>
            <pc:docMk/>
            <pc:sldMk cId="2813832334" sldId="433"/>
            <ac:spMk id="3" creationId="{91B79F6B-E90E-1952-AA09-6DECC2493507}"/>
          </ac:spMkLst>
        </pc:spChg>
        <pc:spChg chg="add del mod">
          <ac:chgData name="Fitzgerald, Madeline" userId="c680c3b0-1f97-40c6-b06e-80efdcdb988b" providerId="ADAL" clId="{7D7F6A71-8EE9-4312-A690-2D5603A3A30C}" dt="2025-05-28T19:07:27.589" v="304" actId="478"/>
          <ac:spMkLst>
            <pc:docMk/>
            <pc:sldMk cId="2813832334" sldId="433"/>
            <ac:spMk id="10" creationId="{A2DEC64F-40FA-D029-E1A9-85C97BD09C96}"/>
          </ac:spMkLst>
        </pc:spChg>
        <pc:spChg chg="add mod">
          <ac:chgData name="Fitzgerald, Madeline" userId="c680c3b0-1f97-40c6-b06e-80efdcdb988b" providerId="ADAL" clId="{7D7F6A71-8EE9-4312-A690-2D5603A3A30C}" dt="2025-05-28T19:07:32.064" v="305"/>
          <ac:spMkLst>
            <pc:docMk/>
            <pc:sldMk cId="2813832334" sldId="433"/>
            <ac:spMk id="11" creationId="{0B22667A-6CB8-A3FB-B63A-018E58FADF37}"/>
          </ac:spMkLst>
        </pc:spChg>
        <pc:picChg chg="mod">
          <ac:chgData name="Fitzgerald, Madeline" userId="c680c3b0-1f97-40c6-b06e-80efdcdb988b" providerId="ADAL" clId="{7D7F6A71-8EE9-4312-A690-2D5603A3A30C}" dt="2025-05-28T19:08:37.103" v="329" actId="1076"/>
          <ac:picMkLst>
            <pc:docMk/>
            <pc:sldMk cId="2813832334" sldId="433"/>
            <ac:picMk id="4" creationId="{11BE9235-A508-D420-A731-D42BC3C285FB}"/>
          </ac:picMkLst>
        </pc:picChg>
        <pc:picChg chg="mod">
          <ac:chgData name="Fitzgerald, Madeline" userId="c680c3b0-1f97-40c6-b06e-80efdcdb988b" providerId="ADAL" clId="{7D7F6A71-8EE9-4312-A690-2D5603A3A30C}" dt="2025-05-28T19:08:34.357" v="328" actId="1076"/>
          <ac:picMkLst>
            <pc:docMk/>
            <pc:sldMk cId="2813832334" sldId="433"/>
            <ac:picMk id="6" creationId="{062D9031-A665-11D5-F40A-B21F02EC9F9B}"/>
          </ac:picMkLst>
        </pc:picChg>
        <pc:picChg chg="mod">
          <ac:chgData name="Fitzgerald, Madeline" userId="c680c3b0-1f97-40c6-b06e-80efdcdb988b" providerId="ADAL" clId="{7D7F6A71-8EE9-4312-A690-2D5603A3A30C}" dt="2025-05-28T19:08:31.511" v="327" actId="1076"/>
          <ac:picMkLst>
            <pc:docMk/>
            <pc:sldMk cId="2813832334" sldId="433"/>
            <ac:picMk id="7" creationId="{E6EB4A38-CCFD-3494-E138-F2C38D856831}"/>
          </ac:picMkLst>
        </pc:picChg>
      </pc:sldChg>
      <pc:sldChg chg="addSp delSp modSp mod">
        <pc:chgData name="Fitzgerald, Madeline" userId="c680c3b0-1f97-40c6-b06e-80efdcdb988b" providerId="ADAL" clId="{7D7F6A71-8EE9-4312-A690-2D5603A3A30C}" dt="2025-05-28T19:09:57.533" v="361" actId="15"/>
        <pc:sldMkLst>
          <pc:docMk/>
          <pc:sldMk cId="2195984643" sldId="434"/>
        </pc:sldMkLst>
        <pc:spChg chg="del">
          <ac:chgData name="Fitzgerald, Madeline" userId="c680c3b0-1f97-40c6-b06e-80efdcdb988b" providerId="ADAL" clId="{7D7F6A71-8EE9-4312-A690-2D5603A3A30C}" dt="2025-05-28T19:09:24.217" v="345" actId="478"/>
          <ac:spMkLst>
            <pc:docMk/>
            <pc:sldMk cId="2195984643" sldId="434"/>
            <ac:spMk id="2" creationId="{3F601847-A5E2-8AC2-FBC5-FB27D5794BF6}"/>
          </ac:spMkLst>
        </pc:spChg>
        <pc:spChg chg="mod">
          <ac:chgData name="Fitzgerald, Madeline" userId="c680c3b0-1f97-40c6-b06e-80efdcdb988b" providerId="ADAL" clId="{7D7F6A71-8EE9-4312-A690-2D5603A3A30C}" dt="2025-05-28T19:09:57.533" v="361" actId="15"/>
          <ac:spMkLst>
            <pc:docMk/>
            <pc:sldMk cId="2195984643" sldId="434"/>
            <ac:spMk id="3" creationId="{6F2159E4-526B-D925-A702-6C886F28DF19}"/>
          </ac:spMkLst>
        </pc:spChg>
        <pc:spChg chg="add del mod">
          <ac:chgData name="Fitzgerald, Madeline" userId="c680c3b0-1f97-40c6-b06e-80efdcdb988b" providerId="ADAL" clId="{7D7F6A71-8EE9-4312-A690-2D5603A3A30C}" dt="2025-05-28T19:09:26.520" v="346" actId="478"/>
          <ac:spMkLst>
            <pc:docMk/>
            <pc:sldMk cId="2195984643" sldId="434"/>
            <ac:spMk id="7" creationId="{D95C79DE-ED4A-6238-4DD0-8D479015B77D}"/>
          </ac:spMkLst>
        </pc:spChg>
        <pc:spChg chg="add mod">
          <ac:chgData name="Fitzgerald, Madeline" userId="c680c3b0-1f97-40c6-b06e-80efdcdb988b" providerId="ADAL" clId="{7D7F6A71-8EE9-4312-A690-2D5603A3A30C}" dt="2025-05-28T19:09:27.406" v="347"/>
          <ac:spMkLst>
            <pc:docMk/>
            <pc:sldMk cId="2195984643" sldId="434"/>
            <ac:spMk id="8" creationId="{BEEDEB9D-8745-CD9B-9137-426644AEC409}"/>
          </ac:spMkLst>
        </pc:spChg>
      </pc:sldChg>
      <pc:sldChg chg="modSp mod">
        <pc:chgData name="Fitzgerald, Madeline" userId="c680c3b0-1f97-40c6-b06e-80efdcdb988b" providerId="ADAL" clId="{7D7F6A71-8EE9-4312-A690-2D5603A3A30C}" dt="2025-05-28T18:11:39.684" v="39" actId="1038"/>
        <pc:sldMkLst>
          <pc:docMk/>
          <pc:sldMk cId="1869322492" sldId="435"/>
        </pc:sldMkLst>
        <pc:spChg chg="mod">
          <ac:chgData name="Fitzgerald, Madeline" userId="c680c3b0-1f97-40c6-b06e-80efdcdb988b" providerId="ADAL" clId="{7D7F6A71-8EE9-4312-A690-2D5603A3A30C}" dt="2025-05-28T18:06:25.594" v="10" actId="20577"/>
          <ac:spMkLst>
            <pc:docMk/>
            <pc:sldMk cId="1869322492" sldId="435"/>
            <ac:spMk id="11" creationId="{95AC4FFC-3B8F-A5EF-D76B-8D3B234BB39A}"/>
          </ac:spMkLst>
        </pc:spChg>
        <pc:spChg chg="mod">
          <ac:chgData name="Fitzgerald, Madeline" userId="c680c3b0-1f97-40c6-b06e-80efdcdb988b" providerId="ADAL" clId="{7D7F6A71-8EE9-4312-A690-2D5603A3A30C}" dt="2025-05-28T18:11:39.684" v="39" actId="1038"/>
          <ac:spMkLst>
            <pc:docMk/>
            <pc:sldMk cId="1869322492" sldId="435"/>
            <ac:spMk id="16" creationId="{F681D7D2-BF03-BE01-A05B-CDBE2023D694}"/>
          </ac:spMkLst>
        </pc:spChg>
        <pc:spChg chg="mod">
          <ac:chgData name="Fitzgerald, Madeline" userId="c680c3b0-1f97-40c6-b06e-80efdcdb988b" providerId="ADAL" clId="{7D7F6A71-8EE9-4312-A690-2D5603A3A30C}" dt="2025-05-28T18:11:39.684" v="39" actId="1038"/>
          <ac:spMkLst>
            <pc:docMk/>
            <pc:sldMk cId="1869322492" sldId="435"/>
            <ac:spMk id="17" creationId="{C6205509-FA8E-4B0F-1F01-F85E1775C949}"/>
          </ac:spMkLst>
        </pc:spChg>
        <pc:spChg chg="mod">
          <ac:chgData name="Fitzgerald, Madeline" userId="c680c3b0-1f97-40c6-b06e-80efdcdb988b" providerId="ADAL" clId="{7D7F6A71-8EE9-4312-A690-2D5603A3A30C}" dt="2025-05-28T18:11:39.684" v="39" actId="1038"/>
          <ac:spMkLst>
            <pc:docMk/>
            <pc:sldMk cId="1869322492" sldId="435"/>
            <ac:spMk id="23" creationId="{B1B1FA06-EF70-4CE8-5476-870333F9FC85}"/>
          </ac:spMkLst>
        </pc:spChg>
        <pc:spChg chg="mod">
          <ac:chgData name="Fitzgerald, Madeline" userId="c680c3b0-1f97-40c6-b06e-80efdcdb988b" providerId="ADAL" clId="{7D7F6A71-8EE9-4312-A690-2D5603A3A30C}" dt="2025-05-28T18:11:39.684" v="39" actId="1038"/>
          <ac:spMkLst>
            <pc:docMk/>
            <pc:sldMk cId="1869322492" sldId="435"/>
            <ac:spMk id="24" creationId="{BFD6CD04-45AA-E1A6-38EC-EC6184E4CF31}"/>
          </ac:spMkLst>
        </pc:spChg>
        <pc:spChg chg="mod">
          <ac:chgData name="Fitzgerald, Madeline" userId="c680c3b0-1f97-40c6-b06e-80efdcdb988b" providerId="ADAL" clId="{7D7F6A71-8EE9-4312-A690-2D5603A3A30C}" dt="2025-05-28T18:11:39.684" v="39" actId="1038"/>
          <ac:spMkLst>
            <pc:docMk/>
            <pc:sldMk cId="1869322492" sldId="435"/>
            <ac:spMk id="29" creationId="{1EB83A24-16B8-77FA-297B-92DF30DBDCA4}"/>
          </ac:spMkLst>
        </pc:spChg>
        <pc:spChg chg="mod">
          <ac:chgData name="Fitzgerald, Madeline" userId="c680c3b0-1f97-40c6-b06e-80efdcdb988b" providerId="ADAL" clId="{7D7F6A71-8EE9-4312-A690-2D5603A3A30C}" dt="2025-05-28T18:11:39.684" v="39" actId="1038"/>
          <ac:spMkLst>
            <pc:docMk/>
            <pc:sldMk cId="1869322492" sldId="435"/>
            <ac:spMk id="31" creationId="{B5E9C985-37A8-D042-772B-CD0D1D709203}"/>
          </ac:spMkLst>
        </pc:spChg>
        <pc:spChg chg="mod">
          <ac:chgData name="Fitzgerald, Madeline" userId="c680c3b0-1f97-40c6-b06e-80efdcdb988b" providerId="ADAL" clId="{7D7F6A71-8EE9-4312-A690-2D5603A3A30C}" dt="2025-05-28T18:11:39.684" v="39" actId="1038"/>
          <ac:spMkLst>
            <pc:docMk/>
            <pc:sldMk cId="1869322492" sldId="435"/>
            <ac:spMk id="33" creationId="{D6DC688D-F1E2-F779-E43F-6C08EB1CD750}"/>
          </ac:spMkLst>
        </pc:spChg>
        <pc:spChg chg="mod">
          <ac:chgData name="Fitzgerald, Madeline" userId="c680c3b0-1f97-40c6-b06e-80efdcdb988b" providerId="ADAL" clId="{7D7F6A71-8EE9-4312-A690-2D5603A3A30C}" dt="2025-05-28T18:11:39.684" v="39" actId="1038"/>
          <ac:spMkLst>
            <pc:docMk/>
            <pc:sldMk cId="1869322492" sldId="435"/>
            <ac:spMk id="34" creationId="{ED19B075-9371-1007-0195-5DDF4F85114B}"/>
          </ac:spMkLst>
        </pc:spChg>
      </pc:sldChg>
      <pc:sldChg chg="addSp delSp modSp mod">
        <pc:chgData name="Fitzgerald, Madeline" userId="c680c3b0-1f97-40c6-b06e-80efdcdb988b" providerId="ADAL" clId="{7D7F6A71-8EE9-4312-A690-2D5603A3A30C}" dt="2025-05-28T19:24:03.182" v="963" actId="113"/>
        <pc:sldMkLst>
          <pc:docMk/>
          <pc:sldMk cId="658288104" sldId="437"/>
        </pc:sldMkLst>
        <pc:spChg chg="del mod">
          <ac:chgData name="Fitzgerald, Madeline" userId="c680c3b0-1f97-40c6-b06e-80efdcdb988b" providerId="ADAL" clId="{7D7F6A71-8EE9-4312-A690-2D5603A3A30C}" dt="2025-05-28T19:22:10.250" v="902" actId="478"/>
          <ac:spMkLst>
            <pc:docMk/>
            <pc:sldMk cId="658288104" sldId="437"/>
            <ac:spMk id="2" creationId="{64795C20-1D53-D49F-4A1D-FDB88F441940}"/>
          </ac:spMkLst>
        </pc:spChg>
        <pc:spChg chg="del mod">
          <ac:chgData name="Fitzgerald, Madeline" userId="c680c3b0-1f97-40c6-b06e-80efdcdb988b" providerId="ADAL" clId="{7D7F6A71-8EE9-4312-A690-2D5603A3A30C}" dt="2025-05-28T19:22:43.214" v="912" actId="478"/>
          <ac:spMkLst>
            <pc:docMk/>
            <pc:sldMk cId="658288104" sldId="437"/>
            <ac:spMk id="3" creationId="{1F169635-4146-ED1F-292E-C8B16DC78673}"/>
          </ac:spMkLst>
        </pc:spChg>
        <pc:spChg chg="add mod">
          <ac:chgData name="Fitzgerald, Madeline" userId="c680c3b0-1f97-40c6-b06e-80efdcdb988b" providerId="ADAL" clId="{7D7F6A71-8EE9-4312-A690-2D5603A3A30C}" dt="2025-05-28T19:22:05.624" v="901" actId="20577"/>
          <ac:spMkLst>
            <pc:docMk/>
            <pc:sldMk cId="658288104" sldId="437"/>
            <ac:spMk id="5" creationId="{5F0163AC-68EE-D60C-D088-F50223810984}"/>
          </ac:spMkLst>
        </pc:spChg>
        <pc:spChg chg="mod">
          <ac:chgData name="Fitzgerald, Madeline" userId="c680c3b0-1f97-40c6-b06e-80efdcdb988b" providerId="ADAL" clId="{7D7F6A71-8EE9-4312-A690-2D5603A3A30C}" dt="2025-05-28T19:24:03.182" v="963" actId="113"/>
          <ac:spMkLst>
            <pc:docMk/>
            <pc:sldMk cId="658288104" sldId="437"/>
            <ac:spMk id="8" creationId="{B26ECA8E-DDB2-8DAD-2588-D06826A99441}"/>
          </ac:spMkLst>
        </pc:spChg>
        <pc:spChg chg="add del mod">
          <ac:chgData name="Fitzgerald, Madeline" userId="c680c3b0-1f97-40c6-b06e-80efdcdb988b" providerId="ADAL" clId="{7D7F6A71-8EE9-4312-A690-2D5603A3A30C}" dt="2025-05-28T19:22:49.752" v="914" actId="478"/>
          <ac:spMkLst>
            <pc:docMk/>
            <pc:sldMk cId="658288104" sldId="437"/>
            <ac:spMk id="10" creationId="{02016D84-6C03-51AA-BB36-10DDAEF844ED}"/>
          </ac:spMkLst>
        </pc:spChg>
        <pc:picChg chg="mod">
          <ac:chgData name="Fitzgerald, Madeline" userId="c680c3b0-1f97-40c6-b06e-80efdcdb988b" providerId="ADAL" clId="{7D7F6A71-8EE9-4312-A690-2D5603A3A30C}" dt="2025-05-28T19:22:46.504" v="913" actId="1076"/>
          <ac:picMkLst>
            <pc:docMk/>
            <pc:sldMk cId="658288104" sldId="437"/>
            <ac:picMk id="4" creationId="{8CCCFA27-2D53-5EFE-64C6-7AFB875B3195}"/>
          </ac:picMkLst>
        </pc:picChg>
      </pc:sldChg>
      <pc:sldChg chg="addSp delSp modSp mod">
        <pc:chgData name="Fitzgerald, Madeline" userId="c680c3b0-1f97-40c6-b06e-80efdcdb988b" providerId="ADAL" clId="{7D7F6A71-8EE9-4312-A690-2D5603A3A30C}" dt="2025-05-28T19:25:44.990" v="1101" actId="122"/>
        <pc:sldMkLst>
          <pc:docMk/>
          <pc:sldMk cId="3965176274" sldId="438"/>
        </pc:sldMkLst>
        <pc:spChg chg="del mod">
          <ac:chgData name="Fitzgerald, Madeline" userId="c680c3b0-1f97-40c6-b06e-80efdcdb988b" providerId="ADAL" clId="{7D7F6A71-8EE9-4312-A690-2D5603A3A30C}" dt="2025-05-28T19:25:01.442" v="1087" actId="478"/>
          <ac:spMkLst>
            <pc:docMk/>
            <pc:sldMk cId="3965176274" sldId="438"/>
            <ac:spMk id="2" creationId="{CB01FC8B-122B-2608-72A1-8BA59EFA154F}"/>
          </ac:spMkLst>
        </pc:spChg>
        <pc:spChg chg="add mod">
          <ac:chgData name="Fitzgerald, Madeline" userId="c680c3b0-1f97-40c6-b06e-80efdcdb988b" providerId="ADAL" clId="{7D7F6A71-8EE9-4312-A690-2D5603A3A30C}" dt="2025-05-28T19:24:58.522" v="1086" actId="20577"/>
          <ac:spMkLst>
            <pc:docMk/>
            <pc:sldMk cId="3965176274" sldId="438"/>
            <ac:spMk id="3" creationId="{4950CF55-C6FA-26CD-9F37-7495EAC0ED57}"/>
          </ac:spMkLst>
        </pc:spChg>
        <pc:spChg chg="mod">
          <ac:chgData name="Fitzgerald, Madeline" userId="c680c3b0-1f97-40c6-b06e-80efdcdb988b" providerId="ADAL" clId="{7D7F6A71-8EE9-4312-A690-2D5603A3A30C}" dt="2025-05-28T19:25:44.990" v="1101" actId="122"/>
          <ac:spMkLst>
            <pc:docMk/>
            <pc:sldMk cId="3965176274" sldId="438"/>
            <ac:spMk id="4" creationId="{CF3222A6-E06F-D774-1771-D9D92C8E1D2E}"/>
          </ac:spMkLst>
        </pc:spChg>
        <pc:spChg chg="add del mod">
          <ac:chgData name="Fitzgerald, Madeline" userId="c680c3b0-1f97-40c6-b06e-80efdcdb988b" providerId="ADAL" clId="{7D7F6A71-8EE9-4312-A690-2D5603A3A30C}" dt="2025-05-28T19:25:07.545" v="1089" actId="478"/>
          <ac:spMkLst>
            <pc:docMk/>
            <pc:sldMk cId="3965176274" sldId="438"/>
            <ac:spMk id="9" creationId="{FE1E6CC4-4499-9060-4F40-ECF07CB1157D}"/>
          </ac:spMkLst>
        </pc:spChg>
        <pc:picChg chg="mod">
          <ac:chgData name="Fitzgerald, Madeline" userId="c680c3b0-1f97-40c6-b06e-80efdcdb988b" providerId="ADAL" clId="{7D7F6A71-8EE9-4312-A690-2D5603A3A30C}" dt="2025-05-28T19:25:04.057" v="1088" actId="14100"/>
          <ac:picMkLst>
            <pc:docMk/>
            <pc:sldMk cId="3965176274" sldId="438"/>
            <ac:picMk id="6" creationId="{9EB05A65-68A9-0340-EF02-A9623F22640E}"/>
          </ac:picMkLst>
        </pc:picChg>
      </pc:sldChg>
      <pc:sldChg chg="addSp delSp modSp mod">
        <pc:chgData name="Fitzgerald, Madeline" userId="c680c3b0-1f97-40c6-b06e-80efdcdb988b" providerId="ADAL" clId="{7D7F6A71-8EE9-4312-A690-2D5603A3A30C}" dt="2025-05-28T19:33:01.183" v="1279" actId="20577"/>
        <pc:sldMkLst>
          <pc:docMk/>
          <pc:sldMk cId="2393856727" sldId="439"/>
        </pc:sldMkLst>
        <pc:spChg chg="del mod">
          <ac:chgData name="Fitzgerald, Madeline" userId="c680c3b0-1f97-40c6-b06e-80efdcdb988b" providerId="ADAL" clId="{7D7F6A71-8EE9-4312-A690-2D5603A3A30C}" dt="2025-05-28T19:27:41.940" v="1182" actId="478"/>
          <ac:spMkLst>
            <pc:docMk/>
            <pc:sldMk cId="2393856727" sldId="439"/>
            <ac:spMk id="2" creationId="{84C7E239-CDC6-AC13-785C-328C75448559}"/>
          </ac:spMkLst>
        </pc:spChg>
        <pc:spChg chg="add mod">
          <ac:chgData name="Fitzgerald, Madeline" userId="c680c3b0-1f97-40c6-b06e-80efdcdb988b" providerId="ADAL" clId="{7D7F6A71-8EE9-4312-A690-2D5603A3A30C}" dt="2025-05-28T19:26:14.621" v="1181" actId="20577"/>
          <ac:spMkLst>
            <pc:docMk/>
            <pc:sldMk cId="2393856727" sldId="439"/>
            <ac:spMk id="3" creationId="{8B4188D5-A72A-C548-D27E-804232E35100}"/>
          </ac:spMkLst>
        </pc:spChg>
        <pc:spChg chg="mod">
          <ac:chgData name="Fitzgerald, Madeline" userId="c680c3b0-1f97-40c6-b06e-80efdcdb988b" providerId="ADAL" clId="{7D7F6A71-8EE9-4312-A690-2D5603A3A30C}" dt="2025-05-28T19:33:01.183" v="1279" actId="20577"/>
          <ac:spMkLst>
            <pc:docMk/>
            <pc:sldMk cId="2393856727" sldId="439"/>
            <ac:spMk id="6" creationId="{72025D37-D310-3323-6BF7-9A1397E213BA}"/>
          </ac:spMkLst>
        </pc:spChg>
        <pc:spChg chg="mod">
          <ac:chgData name="Fitzgerald, Madeline" userId="c680c3b0-1f97-40c6-b06e-80efdcdb988b" providerId="ADAL" clId="{7D7F6A71-8EE9-4312-A690-2D5603A3A30C}" dt="2025-05-28T19:32:14.007" v="1246" actId="113"/>
          <ac:spMkLst>
            <pc:docMk/>
            <pc:sldMk cId="2393856727" sldId="439"/>
            <ac:spMk id="7" creationId="{32D9C68E-B535-15A9-3756-4E321F22EF7D}"/>
          </ac:spMkLst>
        </pc:spChg>
        <pc:spChg chg="add del mod">
          <ac:chgData name="Fitzgerald, Madeline" userId="c680c3b0-1f97-40c6-b06e-80efdcdb988b" providerId="ADAL" clId="{7D7F6A71-8EE9-4312-A690-2D5603A3A30C}" dt="2025-05-28T19:27:43.476" v="1183" actId="478"/>
          <ac:spMkLst>
            <pc:docMk/>
            <pc:sldMk cId="2393856727" sldId="439"/>
            <ac:spMk id="9" creationId="{1624CE95-7E63-57DF-18FD-2586BAC0773B}"/>
          </ac:spMkLst>
        </pc:spChg>
        <pc:picChg chg="mod">
          <ac:chgData name="Fitzgerald, Madeline" userId="c680c3b0-1f97-40c6-b06e-80efdcdb988b" providerId="ADAL" clId="{7D7F6A71-8EE9-4312-A690-2D5603A3A30C}" dt="2025-05-28T19:27:58.805" v="1185" actId="1076"/>
          <ac:picMkLst>
            <pc:docMk/>
            <pc:sldMk cId="2393856727" sldId="439"/>
            <ac:picMk id="16" creationId="{7867F9CB-6927-2C9B-4047-C2EA4E65CCBF}"/>
          </ac:picMkLst>
        </pc:picChg>
      </pc:sldChg>
      <pc:sldChg chg="addSp delSp modSp mod">
        <pc:chgData name="Fitzgerald, Madeline" userId="c680c3b0-1f97-40c6-b06e-80efdcdb988b" providerId="ADAL" clId="{7D7F6A71-8EE9-4312-A690-2D5603A3A30C}" dt="2025-05-28T19:18:17.265" v="658" actId="948"/>
        <pc:sldMkLst>
          <pc:docMk/>
          <pc:sldMk cId="1381110918" sldId="440"/>
        </pc:sldMkLst>
        <pc:spChg chg="del">
          <ac:chgData name="Fitzgerald, Madeline" userId="c680c3b0-1f97-40c6-b06e-80efdcdb988b" providerId="ADAL" clId="{7D7F6A71-8EE9-4312-A690-2D5603A3A30C}" dt="2025-05-28T19:16:39.085" v="540" actId="478"/>
          <ac:spMkLst>
            <pc:docMk/>
            <pc:sldMk cId="1381110918" sldId="440"/>
            <ac:spMk id="2" creationId="{25139AC0-E841-5C0D-834D-FD1AB8285D67}"/>
          </ac:spMkLst>
        </pc:spChg>
        <pc:spChg chg="del">
          <ac:chgData name="Fitzgerald, Madeline" userId="c680c3b0-1f97-40c6-b06e-80efdcdb988b" providerId="ADAL" clId="{7D7F6A71-8EE9-4312-A690-2D5603A3A30C}" dt="2025-05-28T19:17:09.884" v="634" actId="478"/>
          <ac:spMkLst>
            <pc:docMk/>
            <pc:sldMk cId="1381110918" sldId="440"/>
            <ac:spMk id="3" creationId="{63599A60-14F0-54C8-DF1E-C8AEA5FB88E8}"/>
          </ac:spMkLst>
        </pc:spChg>
        <pc:spChg chg="add mod">
          <ac:chgData name="Fitzgerald, Madeline" userId="c680c3b0-1f97-40c6-b06e-80efdcdb988b" providerId="ADAL" clId="{7D7F6A71-8EE9-4312-A690-2D5603A3A30C}" dt="2025-05-28T19:17:06.963" v="633" actId="20577"/>
          <ac:spMkLst>
            <pc:docMk/>
            <pc:sldMk cId="1381110918" sldId="440"/>
            <ac:spMk id="4" creationId="{68D7BBE7-20E1-F31B-EF88-410C4212240F}"/>
          </ac:spMkLst>
        </pc:spChg>
        <pc:spChg chg="del">
          <ac:chgData name="Fitzgerald, Madeline" userId="c680c3b0-1f97-40c6-b06e-80efdcdb988b" providerId="ADAL" clId="{7D7F6A71-8EE9-4312-A690-2D5603A3A30C}" dt="2025-05-28T19:16:40.649" v="541" actId="478"/>
          <ac:spMkLst>
            <pc:docMk/>
            <pc:sldMk cId="1381110918" sldId="440"/>
            <ac:spMk id="5" creationId="{EA179470-ECCC-F638-EEC9-ECDF673CCDD6}"/>
          </ac:spMkLst>
        </pc:spChg>
        <pc:spChg chg="mod">
          <ac:chgData name="Fitzgerald, Madeline" userId="c680c3b0-1f97-40c6-b06e-80efdcdb988b" providerId="ADAL" clId="{7D7F6A71-8EE9-4312-A690-2D5603A3A30C}" dt="2025-05-28T19:18:17.265" v="658" actId="948"/>
          <ac:spMkLst>
            <pc:docMk/>
            <pc:sldMk cId="1381110918" sldId="440"/>
            <ac:spMk id="7" creationId="{F3806777-F69A-4FAE-ECE6-451C5C538D03}"/>
          </ac:spMkLst>
        </pc:spChg>
        <pc:spChg chg="add del mod">
          <ac:chgData name="Fitzgerald, Madeline" userId="c680c3b0-1f97-40c6-b06e-80efdcdb988b" providerId="ADAL" clId="{7D7F6A71-8EE9-4312-A690-2D5603A3A30C}" dt="2025-05-28T19:17:11.289" v="635" actId="478"/>
          <ac:spMkLst>
            <pc:docMk/>
            <pc:sldMk cId="1381110918" sldId="440"/>
            <ac:spMk id="9" creationId="{E57D67D4-6559-ADB0-7BBE-0C820C8FA086}"/>
          </ac:spMkLst>
        </pc:spChg>
        <pc:picChg chg="mod">
          <ac:chgData name="Fitzgerald, Madeline" userId="c680c3b0-1f97-40c6-b06e-80efdcdb988b" providerId="ADAL" clId="{7D7F6A71-8EE9-4312-A690-2D5603A3A30C}" dt="2025-05-28T19:16:16.805" v="533" actId="1076"/>
          <ac:picMkLst>
            <pc:docMk/>
            <pc:sldMk cId="1381110918" sldId="440"/>
            <ac:picMk id="6" creationId="{1E521D48-A3F8-C27F-C1C4-8B66F0DEF5CE}"/>
          </ac:picMkLst>
        </pc:picChg>
        <pc:picChg chg="add mod">
          <ac:chgData name="Fitzgerald, Madeline" userId="c680c3b0-1f97-40c6-b06e-80efdcdb988b" providerId="ADAL" clId="{7D7F6A71-8EE9-4312-A690-2D5603A3A30C}" dt="2025-05-28T19:17:20.355" v="637"/>
          <ac:picMkLst>
            <pc:docMk/>
            <pc:sldMk cId="1381110918" sldId="440"/>
            <ac:picMk id="10" creationId="{0D6F42CB-3363-B68A-96FB-A3ACE8C524BC}"/>
          </ac:picMkLst>
        </pc:picChg>
      </pc:sldChg>
      <pc:sldChg chg="addSp delSp modSp mod ord">
        <pc:chgData name="Fitzgerald, Madeline" userId="c680c3b0-1f97-40c6-b06e-80efdcdb988b" providerId="ADAL" clId="{7D7F6A71-8EE9-4312-A690-2D5603A3A30C}" dt="2025-05-28T19:12:42.657" v="412"/>
        <pc:sldMkLst>
          <pc:docMk/>
          <pc:sldMk cId="915522470" sldId="441"/>
        </pc:sldMkLst>
        <pc:spChg chg="del">
          <ac:chgData name="Fitzgerald, Madeline" userId="c680c3b0-1f97-40c6-b06e-80efdcdb988b" providerId="ADAL" clId="{7D7F6A71-8EE9-4312-A690-2D5603A3A30C}" dt="2025-05-28T18:54:20.635" v="130" actId="478"/>
          <ac:spMkLst>
            <pc:docMk/>
            <pc:sldMk cId="915522470" sldId="441"/>
            <ac:spMk id="2" creationId="{1479893A-AA1E-FE7C-F094-0A457217B5EB}"/>
          </ac:spMkLst>
        </pc:spChg>
        <pc:spChg chg="del">
          <ac:chgData name="Fitzgerald, Madeline" userId="c680c3b0-1f97-40c6-b06e-80efdcdb988b" providerId="ADAL" clId="{7D7F6A71-8EE9-4312-A690-2D5603A3A30C}" dt="2025-05-28T18:53:59.771" v="127" actId="478"/>
          <ac:spMkLst>
            <pc:docMk/>
            <pc:sldMk cId="915522470" sldId="441"/>
            <ac:spMk id="3" creationId="{129E1A4B-914D-816C-7F96-F6C26EBCF026}"/>
          </ac:spMkLst>
        </pc:spChg>
        <pc:spChg chg="add mod">
          <ac:chgData name="Fitzgerald, Madeline" userId="c680c3b0-1f97-40c6-b06e-80efdcdb988b" providerId="ADAL" clId="{7D7F6A71-8EE9-4312-A690-2D5603A3A30C}" dt="2025-05-28T18:54:18.285" v="129"/>
          <ac:spMkLst>
            <pc:docMk/>
            <pc:sldMk cId="915522470" sldId="441"/>
            <ac:spMk id="4" creationId="{EBBDF0FD-C9BE-D575-C753-74049B0627FA}"/>
          </ac:spMkLst>
        </pc:spChg>
        <pc:spChg chg="del">
          <ac:chgData name="Fitzgerald, Madeline" userId="c680c3b0-1f97-40c6-b06e-80efdcdb988b" providerId="ADAL" clId="{7D7F6A71-8EE9-4312-A690-2D5603A3A30C}" dt="2025-05-28T18:53:57.168" v="126" actId="478"/>
          <ac:spMkLst>
            <pc:docMk/>
            <pc:sldMk cId="915522470" sldId="441"/>
            <ac:spMk id="6" creationId="{AB3D8BD2-0937-A7AD-2F79-FB835B57F3D1}"/>
          </ac:spMkLst>
        </pc:spChg>
        <pc:spChg chg="add del mod">
          <ac:chgData name="Fitzgerald, Madeline" userId="c680c3b0-1f97-40c6-b06e-80efdcdb988b" providerId="ADAL" clId="{7D7F6A71-8EE9-4312-A690-2D5603A3A30C}" dt="2025-05-28T18:54:22.193" v="131" actId="478"/>
          <ac:spMkLst>
            <pc:docMk/>
            <pc:sldMk cId="915522470" sldId="441"/>
            <ac:spMk id="7" creationId="{80E97AA8-D498-275A-048C-C8A82616102B}"/>
          </ac:spMkLst>
        </pc:spChg>
        <pc:spChg chg="add mod">
          <ac:chgData name="Fitzgerald, Madeline" userId="c680c3b0-1f97-40c6-b06e-80efdcdb988b" providerId="ADAL" clId="{7D7F6A71-8EE9-4312-A690-2D5603A3A30C}" dt="2025-05-28T18:55:35.797" v="161"/>
          <ac:spMkLst>
            <pc:docMk/>
            <pc:sldMk cId="915522470" sldId="441"/>
            <ac:spMk id="9" creationId="{48DE2947-5B3C-CA08-A07C-9E652C4B76E2}"/>
          </ac:spMkLst>
        </pc:spChg>
        <pc:spChg chg="mod">
          <ac:chgData name="Fitzgerald, Madeline" userId="c680c3b0-1f97-40c6-b06e-80efdcdb988b" providerId="ADAL" clId="{7D7F6A71-8EE9-4312-A690-2D5603A3A30C}" dt="2025-05-28T18:55:07.388" v="158" actId="114"/>
          <ac:spMkLst>
            <pc:docMk/>
            <pc:sldMk cId="915522470" sldId="441"/>
            <ac:spMk id="11" creationId="{34A21E3A-81CA-7C7D-4B93-E57B0C50E450}"/>
          </ac:spMkLst>
        </pc:spChg>
        <pc:picChg chg="mod">
          <ac:chgData name="Fitzgerald, Madeline" userId="c680c3b0-1f97-40c6-b06e-80efdcdb988b" providerId="ADAL" clId="{7D7F6A71-8EE9-4312-A690-2D5603A3A30C}" dt="2025-05-28T18:54:54.825" v="150" actId="1076"/>
          <ac:picMkLst>
            <pc:docMk/>
            <pc:sldMk cId="915522470" sldId="441"/>
            <ac:picMk id="8" creationId="{6B621E88-971D-8611-17B8-8AE9D2C9B4CD}"/>
          </ac:picMkLst>
        </pc:picChg>
        <pc:picChg chg="mod">
          <ac:chgData name="Fitzgerald, Madeline" userId="c680c3b0-1f97-40c6-b06e-80efdcdb988b" providerId="ADAL" clId="{7D7F6A71-8EE9-4312-A690-2D5603A3A30C}" dt="2025-05-28T18:54:57.716" v="151" actId="1076"/>
          <ac:picMkLst>
            <pc:docMk/>
            <pc:sldMk cId="915522470" sldId="441"/>
            <ac:picMk id="10" creationId="{65340E0A-1B82-C6DC-F9FD-F0CF7DA25C65}"/>
          </ac:picMkLst>
        </pc:picChg>
        <pc:picChg chg="add mod">
          <ac:chgData name="Fitzgerald, Madeline" userId="c680c3b0-1f97-40c6-b06e-80efdcdb988b" providerId="ADAL" clId="{7D7F6A71-8EE9-4312-A690-2D5603A3A30C}" dt="2025-05-28T18:55:47.184" v="162"/>
          <ac:picMkLst>
            <pc:docMk/>
            <pc:sldMk cId="915522470" sldId="441"/>
            <ac:picMk id="12" creationId="{71574D89-5C79-6370-8036-FABF1C9A5820}"/>
          </ac:picMkLst>
        </pc:picChg>
      </pc:sldChg>
      <pc:sldChg chg="modSp">
        <pc:chgData name="Fitzgerald, Madeline" userId="c680c3b0-1f97-40c6-b06e-80efdcdb988b" providerId="ADAL" clId="{7D7F6A71-8EE9-4312-A690-2D5603A3A30C}" dt="2025-05-28T18:14:04.559" v="44" actId="122"/>
        <pc:sldMkLst>
          <pc:docMk/>
          <pc:sldMk cId="835244869" sldId="442"/>
        </pc:sldMkLst>
        <pc:graphicFrameChg chg="mod">
          <ac:chgData name="Fitzgerald, Madeline" userId="c680c3b0-1f97-40c6-b06e-80efdcdb988b" providerId="ADAL" clId="{7D7F6A71-8EE9-4312-A690-2D5603A3A30C}" dt="2025-05-28T18:14:04.559" v="44" actId="122"/>
          <ac:graphicFrameMkLst>
            <pc:docMk/>
            <pc:sldMk cId="835244869" sldId="442"/>
            <ac:graphicFrameMk id="3" creationId="{D7D69FAC-2AC0-86C9-F533-2431E052B23A}"/>
          </ac:graphicFrameMkLst>
        </pc:graphicFrameChg>
      </pc:sldChg>
      <pc:sldChg chg="delSp modSp mod">
        <pc:chgData name="Fitzgerald, Madeline" userId="c680c3b0-1f97-40c6-b06e-80efdcdb988b" providerId="ADAL" clId="{7D7F6A71-8EE9-4312-A690-2D5603A3A30C}" dt="2025-05-28T18:31:37.792" v="113" actId="20577"/>
        <pc:sldMkLst>
          <pc:docMk/>
          <pc:sldMk cId="1453918737" sldId="444"/>
        </pc:sldMkLst>
        <pc:spChg chg="del">
          <ac:chgData name="Fitzgerald, Madeline" userId="c680c3b0-1f97-40c6-b06e-80efdcdb988b" providerId="ADAL" clId="{7D7F6A71-8EE9-4312-A690-2D5603A3A30C}" dt="2025-05-28T18:28:44.219" v="98" actId="478"/>
          <ac:spMkLst>
            <pc:docMk/>
            <pc:sldMk cId="1453918737" sldId="444"/>
            <ac:spMk id="7" creationId="{78CB5793-D1EC-C43B-C285-112DFA6348DF}"/>
          </ac:spMkLst>
        </pc:spChg>
        <pc:spChg chg="mod">
          <ac:chgData name="Fitzgerald, Madeline" userId="c680c3b0-1f97-40c6-b06e-80efdcdb988b" providerId="ADAL" clId="{7D7F6A71-8EE9-4312-A690-2D5603A3A30C}" dt="2025-05-28T18:31:37.792" v="113" actId="20577"/>
          <ac:spMkLst>
            <pc:docMk/>
            <pc:sldMk cId="1453918737" sldId="444"/>
            <ac:spMk id="13" creationId="{710A83F8-63DC-AD3D-A190-EDDD0B6D1FDF}"/>
          </ac:spMkLst>
        </pc:spChg>
      </pc:sldChg>
      <pc:sldChg chg="modSp mod modCm">
        <pc:chgData name="Fitzgerald, Madeline" userId="c680c3b0-1f97-40c6-b06e-80efdcdb988b" providerId="ADAL" clId="{7D7F6A71-8EE9-4312-A690-2D5603A3A30C}" dt="2025-05-28T18:36:52.910" v="118" actId="20577"/>
        <pc:sldMkLst>
          <pc:docMk/>
          <pc:sldMk cId="3521687261" sldId="445"/>
        </pc:sldMkLst>
        <pc:spChg chg="mod">
          <ac:chgData name="Fitzgerald, Madeline" userId="c680c3b0-1f97-40c6-b06e-80efdcdb988b" providerId="ADAL" clId="{7D7F6A71-8EE9-4312-A690-2D5603A3A30C}" dt="2025-05-28T18:36:52.910" v="118" actId="20577"/>
          <ac:spMkLst>
            <pc:docMk/>
            <pc:sldMk cId="3521687261" sldId="445"/>
            <ac:spMk id="20" creationId="{AD7B549E-E82A-293E-7084-2C3F2A492E6F}"/>
          </ac:spMkLst>
        </pc:spChg>
        <pc:extLst>
          <p:ext xmlns:p="http://schemas.openxmlformats.org/presentationml/2006/main" uri="{D6D511B9-2390-475A-947B-AFAB55BFBCF1}">
            <pc226:cmChg xmlns:pc226="http://schemas.microsoft.com/office/powerpoint/2022/06/main/command" chg="mod">
              <pc226:chgData name="Fitzgerald, Madeline" userId="c680c3b0-1f97-40c6-b06e-80efdcdb988b" providerId="ADAL" clId="{7D7F6A71-8EE9-4312-A690-2D5603A3A30C}" dt="2025-05-28T18:36:52.910" v="118" actId="20577"/>
              <pc2:cmMkLst xmlns:pc2="http://schemas.microsoft.com/office/powerpoint/2019/9/main/command">
                <pc:docMk/>
                <pc:sldMk cId="3521687261" sldId="445"/>
                <pc2:cmMk id="{806673F8-6F51-4094-BC73-5A7A0776B6EB}"/>
              </pc2:cmMkLst>
            </pc226:cmChg>
          </p:ext>
        </pc:extLst>
      </pc:sldChg>
      <pc:sldChg chg="modSp mod">
        <pc:chgData name="Fitzgerald, Madeline" userId="c680c3b0-1f97-40c6-b06e-80efdcdb988b" providerId="ADAL" clId="{7D7F6A71-8EE9-4312-A690-2D5603A3A30C}" dt="2025-05-28T18:22:49.714" v="97" actId="20577"/>
        <pc:sldMkLst>
          <pc:docMk/>
          <pc:sldMk cId="1798399341" sldId="447"/>
        </pc:sldMkLst>
        <pc:spChg chg="mod">
          <ac:chgData name="Fitzgerald, Madeline" userId="c680c3b0-1f97-40c6-b06e-80efdcdb988b" providerId="ADAL" clId="{7D7F6A71-8EE9-4312-A690-2D5603A3A30C}" dt="2025-05-28T18:18:29.230" v="46" actId="1076"/>
          <ac:spMkLst>
            <pc:docMk/>
            <pc:sldMk cId="1798399341" sldId="447"/>
            <ac:spMk id="5" creationId="{10571E6C-3C55-BCEB-3A03-378D95273961}"/>
          </ac:spMkLst>
        </pc:spChg>
        <pc:spChg chg="mod">
          <ac:chgData name="Fitzgerald, Madeline" userId="c680c3b0-1f97-40c6-b06e-80efdcdb988b" providerId="ADAL" clId="{7D7F6A71-8EE9-4312-A690-2D5603A3A30C}" dt="2025-05-28T18:20:52.195" v="82" actId="20577"/>
          <ac:spMkLst>
            <pc:docMk/>
            <pc:sldMk cId="1798399341" sldId="447"/>
            <ac:spMk id="14" creationId="{D6EAE57F-2AAD-7FFD-5DF8-B9489D7F3265}"/>
          </ac:spMkLst>
        </pc:spChg>
        <pc:spChg chg="mod">
          <ac:chgData name="Fitzgerald, Madeline" userId="c680c3b0-1f97-40c6-b06e-80efdcdb988b" providerId="ADAL" clId="{7D7F6A71-8EE9-4312-A690-2D5603A3A30C}" dt="2025-05-28T18:20:44.561" v="79" actId="20577"/>
          <ac:spMkLst>
            <pc:docMk/>
            <pc:sldMk cId="1798399341" sldId="447"/>
            <ac:spMk id="15" creationId="{1CBB97F6-F5A4-13AF-9796-5F8F396B9256}"/>
          </ac:spMkLst>
        </pc:spChg>
        <pc:spChg chg="mod">
          <ac:chgData name="Fitzgerald, Madeline" userId="c680c3b0-1f97-40c6-b06e-80efdcdb988b" providerId="ADAL" clId="{7D7F6A71-8EE9-4312-A690-2D5603A3A30C}" dt="2025-05-28T18:22:49.714" v="97" actId="20577"/>
          <ac:spMkLst>
            <pc:docMk/>
            <pc:sldMk cId="1798399341" sldId="447"/>
            <ac:spMk id="16" creationId="{747627A9-0169-CF93-6D41-F6760A06390A}"/>
          </ac:spMkLst>
        </pc:spChg>
        <pc:spChg chg="mod">
          <ac:chgData name="Fitzgerald, Madeline" userId="c680c3b0-1f97-40c6-b06e-80efdcdb988b" providerId="ADAL" clId="{7D7F6A71-8EE9-4312-A690-2D5603A3A30C}" dt="2025-05-28T18:19:54.552" v="75" actId="208"/>
          <ac:spMkLst>
            <pc:docMk/>
            <pc:sldMk cId="1798399341" sldId="447"/>
            <ac:spMk id="17" creationId="{EEB0D8B1-C5BB-8FE6-7843-3E4C195EB112}"/>
          </ac:spMkLst>
        </pc:spChg>
      </pc:sldChg>
      <pc:sldChg chg="modSp">
        <pc:chgData name="Fitzgerald, Madeline" userId="c680c3b0-1f97-40c6-b06e-80efdcdb988b" providerId="ADAL" clId="{7D7F6A71-8EE9-4312-A690-2D5603A3A30C}" dt="2025-05-28T17:17:58.157" v="4" actId="20577"/>
        <pc:sldMkLst>
          <pc:docMk/>
          <pc:sldMk cId="3880380257" sldId="451"/>
        </pc:sldMkLst>
        <pc:spChg chg="mod">
          <ac:chgData name="Fitzgerald, Madeline" userId="c680c3b0-1f97-40c6-b06e-80efdcdb988b" providerId="ADAL" clId="{7D7F6A71-8EE9-4312-A690-2D5603A3A30C}" dt="2025-05-28T17:14:57.697" v="0" actId="20577"/>
          <ac:spMkLst>
            <pc:docMk/>
            <pc:sldMk cId="3880380257" sldId="451"/>
            <ac:spMk id="5" creationId="{A39C5115-470F-265F-68A5-2CA0FE9340E5}"/>
          </ac:spMkLst>
        </pc:spChg>
        <pc:spChg chg="mod">
          <ac:chgData name="Fitzgerald, Madeline" userId="c680c3b0-1f97-40c6-b06e-80efdcdb988b" providerId="ADAL" clId="{7D7F6A71-8EE9-4312-A690-2D5603A3A30C}" dt="2025-05-28T17:17:55.587" v="3" actId="20577"/>
          <ac:spMkLst>
            <pc:docMk/>
            <pc:sldMk cId="3880380257" sldId="451"/>
            <ac:spMk id="15" creationId="{8D5D3466-2F38-B013-D9A6-442FEBEE364E}"/>
          </ac:spMkLst>
        </pc:spChg>
        <pc:spChg chg="mod">
          <ac:chgData name="Fitzgerald, Madeline" userId="c680c3b0-1f97-40c6-b06e-80efdcdb988b" providerId="ADAL" clId="{7D7F6A71-8EE9-4312-A690-2D5603A3A30C}" dt="2025-05-28T17:17:58.157" v="4" actId="20577"/>
          <ac:spMkLst>
            <pc:docMk/>
            <pc:sldMk cId="3880380257" sldId="451"/>
            <ac:spMk id="17" creationId="{2203C8DF-8218-5B43-299B-2CD134638B79}"/>
          </ac:spMkLst>
        </pc:spChg>
        <pc:spChg chg="mod">
          <ac:chgData name="Fitzgerald, Madeline" userId="c680c3b0-1f97-40c6-b06e-80efdcdb988b" providerId="ADAL" clId="{7D7F6A71-8EE9-4312-A690-2D5603A3A30C}" dt="2025-05-28T17:16:13.723" v="2" actId="20577"/>
          <ac:spMkLst>
            <pc:docMk/>
            <pc:sldMk cId="3880380257" sldId="451"/>
            <ac:spMk id="18" creationId="{8A2B48B7-C75B-5BC2-9864-D6F7BA1C4F83}"/>
          </ac:spMkLst>
        </pc:spChg>
      </pc:sldChg>
      <pc:sldChg chg="modSp mod">
        <pc:chgData name="Fitzgerald, Madeline" userId="c680c3b0-1f97-40c6-b06e-80efdcdb988b" providerId="ADAL" clId="{7D7F6A71-8EE9-4312-A690-2D5603A3A30C}" dt="2025-05-28T18:30:27.479" v="110" actId="20577"/>
        <pc:sldMkLst>
          <pc:docMk/>
          <pc:sldMk cId="3625720286" sldId="454"/>
        </pc:sldMkLst>
        <pc:spChg chg="mod">
          <ac:chgData name="Fitzgerald, Madeline" userId="c680c3b0-1f97-40c6-b06e-80efdcdb988b" providerId="ADAL" clId="{7D7F6A71-8EE9-4312-A690-2D5603A3A30C}" dt="2025-05-28T18:29:04.811" v="104" actId="20577"/>
          <ac:spMkLst>
            <pc:docMk/>
            <pc:sldMk cId="3625720286" sldId="454"/>
            <ac:spMk id="7" creationId="{661F35FB-345A-88F9-B041-28104B1286CB}"/>
          </ac:spMkLst>
        </pc:spChg>
        <pc:spChg chg="mod">
          <ac:chgData name="Fitzgerald, Madeline" userId="c680c3b0-1f97-40c6-b06e-80efdcdb988b" providerId="ADAL" clId="{7D7F6A71-8EE9-4312-A690-2D5603A3A30C}" dt="2025-05-28T18:30:27.479" v="110" actId="20577"/>
          <ac:spMkLst>
            <pc:docMk/>
            <pc:sldMk cId="3625720286" sldId="454"/>
            <ac:spMk id="9" creationId="{752614E3-C229-CF98-DF86-D0EAF750B867}"/>
          </ac:spMkLst>
        </pc:spChg>
      </pc:sldChg>
      <pc:sldChg chg="addSp delSp modSp mod modCm">
        <pc:chgData name="Fitzgerald, Madeline" userId="c680c3b0-1f97-40c6-b06e-80efdcdb988b" providerId="ADAL" clId="{7D7F6A71-8EE9-4312-A690-2D5603A3A30C}" dt="2025-05-28T19:37:51.668" v="1351" actId="27636"/>
        <pc:sldMkLst>
          <pc:docMk/>
          <pc:sldMk cId="3006985642" sldId="455"/>
        </pc:sldMkLst>
        <pc:spChg chg="add del mod">
          <ac:chgData name="Fitzgerald, Madeline" userId="c680c3b0-1f97-40c6-b06e-80efdcdb988b" providerId="ADAL" clId="{7D7F6A71-8EE9-4312-A690-2D5603A3A30C}" dt="2025-05-28T19:33:57.223" v="1281" actId="478"/>
          <ac:spMkLst>
            <pc:docMk/>
            <pc:sldMk cId="3006985642" sldId="455"/>
            <ac:spMk id="8" creationId="{5FA07D38-CEE1-AAB4-A62E-88AD5BC9C961}"/>
          </ac:spMkLst>
        </pc:spChg>
        <pc:spChg chg="mod">
          <ac:chgData name="Fitzgerald, Madeline" userId="c680c3b0-1f97-40c6-b06e-80efdcdb988b" providerId="ADAL" clId="{7D7F6A71-8EE9-4312-A690-2D5603A3A30C}" dt="2025-05-28T19:37:51.668" v="1351" actId="27636"/>
          <ac:spMkLst>
            <pc:docMk/>
            <pc:sldMk cId="3006985642" sldId="455"/>
            <ac:spMk id="9" creationId="{A6881015-1EBF-AAC3-85E0-DB9C7039CDCB}"/>
          </ac:spMkLst>
        </pc:spChg>
        <pc:spChg chg="add mod">
          <ac:chgData name="Fitzgerald, Madeline" userId="c680c3b0-1f97-40c6-b06e-80efdcdb988b" providerId="ADAL" clId="{7D7F6A71-8EE9-4312-A690-2D5603A3A30C}" dt="2025-05-28T19:34:08.246" v="1300" actId="20577"/>
          <ac:spMkLst>
            <pc:docMk/>
            <pc:sldMk cId="3006985642" sldId="455"/>
            <ac:spMk id="10" creationId="{A73233BF-F91C-687C-C796-3C224BCB0AB3}"/>
          </ac:spMkLst>
        </pc:spChg>
        <pc:spChg chg="del">
          <ac:chgData name="Fitzgerald, Madeline" userId="c680c3b0-1f97-40c6-b06e-80efdcdb988b" providerId="ADAL" clId="{7D7F6A71-8EE9-4312-A690-2D5603A3A30C}" dt="2025-05-28T19:33:54.869" v="1280" actId="478"/>
          <ac:spMkLst>
            <pc:docMk/>
            <pc:sldMk cId="3006985642" sldId="455"/>
            <ac:spMk id="12" creationId="{41BD0CC5-D5CE-BA84-7554-EEB5BBBB05E8}"/>
          </ac:spMkLst>
        </pc:spChg>
        <pc:graphicFrameChg chg="del mod">
          <ac:chgData name="Fitzgerald, Madeline" userId="c680c3b0-1f97-40c6-b06e-80efdcdb988b" providerId="ADAL" clId="{7D7F6A71-8EE9-4312-A690-2D5603A3A30C}" dt="2025-05-28T19:35:04.904" v="1325" actId="478"/>
          <ac:graphicFrameMkLst>
            <pc:docMk/>
            <pc:sldMk cId="3006985642" sldId="455"/>
            <ac:graphicFrameMk id="5" creationId="{3523E3CF-2462-598C-4CF9-9C7548E001F3}"/>
          </ac:graphicFrameMkLst>
        </pc:graphicFrameChg>
        <pc:picChg chg="mod">
          <ac:chgData name="Fitzgerald, Madeline" userId="c680c3b0-1f97-40c6-b06e-80efdcdb988b" providerId="ADAL" clId="{7D7F6A71-8EE9-4312-A690-2D5603A3A30C}" dt="2025-05-28T19:34:13.730" v="1301" actId="1076"/>
          <ac:picMkLst>
            <pc:docMk/>
            <pc:sldMk cId="3006985642" sldId="455"/>
            <ac:picMk id="4" creationId="{B1FD95CD-13BE-AC13-2604-3FDB30CFB87D}"/>
          </ac:picMkLst>
        </pc:picChg>
        <pc:extLst>
          <p:ext xmlns:p="http://schemas.openxmlformats.org/presentationml/2006/main" uri="{D6D511B9-2390-475A-947B-AFAB55BFBCF1}">
            <pc226:cmChg xmlns:pc226="http://schemas.microsoft.com/office/powerpoint/2022/06/main/command" chg="mod">
              <pc226:chgData name="Fitzgerald, Madeline" userId="c680c3b0-1f97-40c6-b06e-80efdcdb988b" providerId="ADAL" clId="{7D7F6A71-8EE9-4312-A690-2D5603A3A30C}" dt="2025-05-28T19:34:23.032" v="1315" actId="20577"/>
              <pc2:cmMkLst xmlns:pc2="http://schemas.microsoft.com/office/powerpoint/2019/9/main/command">
                <pc:docMk/>
                <pc:sldMk cId="3006985642" sldId="455"/>
                <pc2:cmMk id="{16662B75-5F29-432B-B39F-28D7959F1D11}"/>
              </pc2:cmMkLst>
            </pc226:cmChg>
            <pc226:cmChg xmlns:pc226="http://schemas.microsoft.com/office/powerpoint/2022/06/main/command" chg="mod">
              <pc226:chgData name="Fitzgerald, Madeline" userId="c680c3b0-1f97-40c6-b06e-80efdcdb988b" providerId="ADAL" clId="{7D7F6A71-8EE9-4312-A690-2D5603A3A30C}" dt="2025-05-28T19:34:23.032" v="1315" actId="20577"/>
              <pc2:cmMkLst xmlns:pc2="http://schemas.microsoft.com/office/powerpoint/2019/9/main/command">
                <pc:docMk/>
                <pc:sldMk cId="3006985642" sldId="455"/>
                <pc2:cmMk id="{3BFDA5E5-18B1-4A56-8B2B-385DD3AA96A9}"/>
              </pc2:cmMkLst>
            </pc226:cmChg>
            <pc226:cmChg xmlns:pc226="http://schemas.microsoft.com/office/powerpoint/2022/06/main/command" chg="mod">
              <pc226:chgData name="Fitzgerald, Madeline" userId="c680c3b0-1f97-40c6-b06e-80efdcdb988b" providerId="ADAL" clId="{7D7F6A71-8EE9-4312-A690-2D5603A3A30C}" dt="2025-05-28T19:34:23.032" v="1315" actId="20577"/>
              <pc2:cmMkLst xmlns:pc2="http://schemas.microsoft.com/office/powerpoint/2019/9/main/command">
                <pc:docMk/>
                <pc:sldMk cId="3006985642" sldId="455"/>
                <pc2:cmMk id="{5786FDF7-2D98-4E39-A748-A3AC20F31771}"/>
              </pc2:cmMkLst>
            </pc226:cmChg>
          </p:ext>
        </pc:extLst>
      </pc:sldChg>
      <pc:sldChg chg="addSp delSp modSp mod">
        <pc:chgData name="Fitzgerald, Madeline" userId="c680c3b0-1f97-40c6-b06e-80efdcdb988b" providerId="ADAL" clId="{7D7F6A71-8EE9-4312-A690-2D5603A3A30C}" dt="2025-05-28T19:35:34.524" v="1346" actId="20577"/>
        <pc:sldMkLst>
          <pc:docMk/>
          <pc:sldMk cId="2013380474" sldId="456"/>
        </pc:sldMkLst>
        <pc:spChg chg="add mod">
          <ac:chgData name="Fitzgerald, Madeline" userId="c680c3b0-1f97-40c6-b06e-80efdcdb988b" providerId="ADAL" clId="{7D7F6A71-8EE9-4312-A690-2D5603A3A30C}" dt="2025-05-28T19:35:34.524" v="1346" actId="20577"/>
          <ac:spMkLst>
            <pc:docMk/>
            <pc:sldMk cId="2013380474" sldId="456"/>
            <ac:spMk id="2" creationId="{C65B9011-0685-32AC-8535-DE4F95C047AF}"/>
          </ac:spMkLst>
        </pc:spChg>
        <pc:spChg chg="del">
          <ac:chgData name="Fitzgerald, Madeline" userId="c680c3b0-1f97-40c6-b06e-80efdcdb988b" providerId="ADAL" clId="{7D7F6A71-8EE9-4312-A690-2D5603A3A30C}" dt="2025-05-28T19:35:19.223" v="1328" actId="478"/>
          <ac:spMkLst>
            <pc:docMk/>
            <pc:sldMk cId="2013380474" sldId="456"/>
            <ac:spMk id="17" creationId="{21343374-4F41-69C4-9BF1-32799E6A91A5}"/>
          </ac:spMkLst>
        </pc:spChg>
        <pc:graphicFrameChg chg="del">
          <ac:chgData name="Fitzgerald, Madeline" userId="c680c3b0-1f97-40c6-b06e-80efdcdb988b" providerId="ADAL" clId="{7D7F6A71-8EE9-4312-A690-2D5603A3A30C}" dt="2025-05-28T19:35:11.255" v="1326" actId="478"/>
          <ac:graphicFrameMkLst>
            <pc:docMk/>
            <pc:sldMk cId="2013380474" sldId="456"/>
            <ac:graphicFrameMk id="4" creationId="{C47A8ED2-E744-5700-04AE-822FC1C500F4}"/>
          </ac:graphicFrameMkLst>
        </pc:graphicFrameChg>
        <pc:picChg chg="mod">
          <ac:chgData name="Fitzgerald, Madeline" userId="c680c3b0-1f97-40c6-b06e-80efdcdb988b" providerId="ADAL" clId="{7D7F6A71-8EE9-4312-A690-2D5603A3A30C}" dt="2025-05-28T19:35:16.957" v="1327" actId="1076"/>
          <ac:picMkLst>
            <pc:docMk/>
            <pc:sldMk cId="2013380474" sldId="456"/>
            <ac:picMk id="21" creationId="{1EA707ED-DD78-A054-3968-71BDD22F5976}"/>
          </ac:picMkLst>
        </pc:picChg>
      </pc:sldChg>
      <pc:sldChg chg="delSp mod">
        <pc:chgData name="Fitzgerald, Madeline" userId="c680c3b0-1f97-40c6-b06e-80efdcdb988b" providerId="ADAL" clId="{7D7F6A71-8EE9-4312-A690-2D5603A3A30C}" dt="2025-05-28T19:35:01.329" v="1324" actId="478"/>
        <pc:sldMkLst>
          <pc:docMk/>
          <pc:sldMk cId="197560797" sldId="457"/>
        </pc:sldMkLst>
        <pc:graphicFrameChg chg="del">
          <ac:chgData name="Fitzgerald, Madeline" userId="c680c3b0-1f97-40c6-b06e-80efdcdb988b" providerId="ADAL" clId="{7D7F6A71-8EE9-4312-A690-2D5603A3A30C}" dt="2025-05-28T19:35:01.329" v="1324" actId="478"/>
          <ac:graphicFrameMkLst>
            <pc:docMk/>
            <pc:sldMk cId="197560797" sldId="457"/>
            <ac:graphicFrameMk id="5" creationId="{9E013646-A445-9081-EBBD-3D96EE005152}"/>
          </ac:graphicFrameMkLst>
        </pc:graphicFrameChg>
      </pc:sldChg>
      <pc:sldChg chg="modSp mod">
        <pc:chgData name="Fitzgerald, Madeline" userId="c680c3b0-1f97-40c6-b06e-80efdcdb988b" providerId="ADAL" clId="{7D7F6A71-8EE9-4312-A690-2D5603A3A30C}" dt="2025-05-28T17:52:29.195" v="5" actId="20577"/>
        <pc:sldMkLst>
          <pc:docMk/>
          <pc:sldMk cId="274071638" sldId="461"/>
        </pc:sldMkLst>
        <pc:spChg chg="mod">
          <ac:chgData name="Fitzgerald, Madeline" userId="c680c3b0-1f97-40c6-b06e-80efdcdb988b" providerId="ADAL" clId="{7D7F6A71-8EE9-4312-A690-2D5603A3A30C}" dt="2025-05-28T17:52:29.195" v="5" actId="20577"/>
          <ac:spMkLst>
            <pc:docMk/>
            <pc:sldMk cId="274071638" sldId="461"/>
            <ac:spMk id="28" creationId="{684662BF-4AB4-8B20-E558-86C1941AD480}"/>
          </ac:spMkLst>
        </pc:spChg>
      </pc:sldChg>
      <pc:sldChg chg="addSp modSp">
        <pc:chgData name="Fitzgerald, Madeline" userId="c680c3b0-1f97-40c6-b06e-80efdcdb988b" providerId="ADAL" clId="{7D7F6A71-8EE9-4312-A690-2D5603A3A30C}" dt="2025-05-28T19:18:45.291" v="662"/>
        <pc:sldMkLst>
          <pc:docMk/>
          <pc:sldMk cId="747289679" sldId="474"/>
        </pc:sldMkLst>
        <pc:spChg chg="add mod">
          <ac:chgData name="Fitzgerald, Madeline" userId="c680c3b0-1f97-40c6-b06e-80efdcdb988b" providerId="ADAL" clId="{7D7F6A71-8EE9-4312-A690-2D5603A3A30C}" dt="2025-05-28T19:18:45.291" v="662"/>
          <ac:spMkLst>
            <pc:docMk/>
            <pc:sldMk cId="747289679" sldId="474"/>
            <ac:spMk id="4" creationId="{26F59B0A-C04D-9240-A95F-93BAA43D1C00}"/>
          </ac:spMkLst>
        </pc:spChg>
      </pc:sldChg>
      <pc:sldChg chg="modSp mod">
        <pc:chgData name="Fitzgerald, Madeline" userId="c680c3b0-1f97-40c6-b06e-80efdcdb988b" providerId="ADAL" clId="{7D7F6A71-8EE9-4312-A690-2D5603A3A30C}" dt="2025-05-28T18:55:33.181" v="160" actId="1076"/>
        <pc:sldMkLst>
          <pc:docMk/>
          <pc:sldMk cId="2203974627" sldId="476"/>
        </pc:sldMkLst>
        <pc:spChg chg="mod">
          <ac:chgData name="Fitzgerald, Madeline" userId="c680c3b0-1f97-40c6-b06e-80efdcdb988b" providerId="ADAL" clId="{7D7F6A71-8EE9-4312-A690-2D5603A3A30C}" dt="2025-05-28T18:04:39.583" v="6" actId="20577"/>
          <ac:spMkLst>
            <pc:docMk/>
            <pc:sldMk cId="2203974627" sldId="476"/>
            <ac:spMk id="2" creationId="{1AAF1234-3BB4-8632-04CC-187E7808680E}"/>
          </ac:spMkLst>
        </pc:spChg>
        <pc:picChg chg="mod">
          <ac:chgData name="Fitzgerald, Madeline" userId="c680c3b0-1f97-40c6-b06e-80efdcdb988b" providerId="ADAL" clId="{7D7F6A71-8EE9-4312-A690-2D5603A3A30C}" dt="2025-05-28T18:55:33.181" v="160" actId="1076"/>
          <ac:picMkLst>
            <pc:docMk/>
            <pc:sldMk cId="2203974627" sldId="476"/>
            <ac:picMk id="23" creationId="{B846C0EB-D291-AB3E-ED25-14B0F5EEB514}"/>
          </ac:picMkLst>
        </pc:picChg>
      </pc:sldChg>
      <pc:sldChg chg="delSp modSp add mod setBg">
        <pc:chgData name="Fitzgerald, Madeline" userId="c680c3b0-1f97-40c6-b06e-80efdcdb988b" providerId="ADAL" clId="{7D7F6A71-8EE9-4312-A690-2D5603A3A30C}" dt="2025-05-28T19:13:15.199" v="424"/>
        <pc:sldMkLst>
          <pc:docMk/>
          <pc:sldMk cId="3986016680" sldId="478"/>
        </pc:sldMkLst>
        <pc:spChg chg="del">
          <ac:chgData name="Fitzgerald, Madeline" userId="c680c3b0-1f97-40c6-b06e-80efdcdb988b" providerId="ADAL" clId="{7D7F6A71-8EE9-4312-A690-2D5603A3A30C}" dt="2025-05-28T19:13:09.695" v="423" actId="478"/>
          <ac:spMkLst>
            <pc:docMk/>
            <pc:sldMk cId="3986016680" sldId="478"/>
            <ac:spMk id="5" creationId="{5605F845-3492-B916-CBF6-0D8913B17345}"/>
          </ac:spMkLst>
        </pc:spChg>
        <pc:spChg chg="mod">
          <ac:chgData name="Fitzgerald, Madeline" userId="c680c3b0-1f97-40c6-b06e-80efdcdb988b" providerId="ADAL" clId="{7D7F6A71-8EE9-4312-A690-2D5603A3A30C}" dt="2025-05-28T19:13:05.976" v="422" actId="20577"/>
          <ac:spMkLst>
            <pc:docMk/>
            <pc:sldMk cId="3986016680" sldId="478"/>
            <ac:spMk id="16" creationId="{E2CE7C88-2EF8-5C8F-EB18-A907318051FD}"/>
          </ac:spMkLst>
        </pc:spChg>
      </pc:sldChg>
      <pc:sldChg chg="modSp add mod setBg">
        <pc:chgData name="Fitzgerald, Madeline" userId="c680c3b0-1f97-40c6-b06e-80efdcdb988b" providerId="ADAL" clId="{7D7F6A71-8EE9-4312-A690-2D5603A3A30C}" dt="2025-05-28T19:13:39.779" v="452" actId="20577"/>
        <pc:sldMkLst>
          <pc:docMk/>
          <pc:sldMk cId="2511045511" sldId="479"/>
        </pc:sldMkLst>
        <pc:spChg chg="mod">
          <ac:chgData name="Fitzgerald, Madeline" userId="c680c3b0-1f97-40c6-b06e-80efdcdb988b" providerId="ADAL" clId="{7D7F6A71-8EE9-4312-A690-2D5603A3A30C}" dt="2025-05-28T19:13:39.779" v="452" actId="20577"/>
          <ac:spMkLst>
            <pc:docMk/>
            <pc:sldMk cId="2511045511" sldId="479"/>
            <ac:spMk id="16" creationId="{43596A5E-93B1-6ABC-1D36-F781C07FA820}"/>
          </ac:spMkLst>
        </pc:spChg>
      </pc:sldChg>
      <pc:sldMasterChg chg="modSldLayout">
        <pc:chgData name="Fitzgerald, Madeline" userId="c680c3b0-1f97-40c6-b06e-80efdcdb988b" providerId="ADAL" clId="{7D7F6A71-8EE9-4312-A690-2D5603A3A30C}" dt="2025-05-28T19:16:35.528" v="539" actId="478"/>
        <pc:sldMasterMkLst>
          <pc:docMk/>
          <pc:sldMasterMk cId="2659633419" sldId="2147483679"/>
        </pc:sldMasterMkLst>
        <pc:sldLayoutChg chg="delSp mod">
          <pc:chgData name="Fitzgerald, Madeline" userId="c680c3b0-1f97-40c6-b06e-80efdcdb988b" providerId="ADAL" clId="{7D7F6A71-8EE9-4312-A690-2D5603A3A30C}" dt="2025-05-28T19:14:44.930" v="458" actId="478"/>
          <pc:sldLayoutMkLst>
            <pc:docMk/>
            <pc:sldMasterMk cId="2659633419" sldId="2147483679"/>
            <pc:sldLayoutMk cId="2566489590" sldId="2147483735"/>
          </pc:sldLayoutMkLst>
          <pc:spChg chg="del">
            <ac:chgData name="Fitzgerald, Madeline" userId="c680c3b0-1f97-40c6-b06e-80efdcdb988b" providerId="ADAL" clId="{7D7F6A71-8EE9-4312-A690-2D5603A3A30C}" dt="2025-05-28T19:14:41.398" v="454" actId="478"/>
            <ac:spMkLst>
              <pc:docMk/>
              <pc:sldMasterMk cId="2659633419" sldId="2147483679"/>
              <pc:sldLayoutMk cId="2566489590" sldId="2147483735"/>
              <ac:spMk id="2" creationId="{66439A8D-FB4A-4E5C-E063-CB604402D698}"/>
            </ac:spMkLst>
          </pc:spChg>
          <pc:spChg chg="del">
            <ac:chgData name="Fitzgerald, Madeline" userId="c680c3b0-1f97-40c6-b06e-80efdcdb988b" providerId="ADAL" clId="{7D7F6A71-8EE9-4312-A690-2D5603A3A30C}" dt="2025-05-28T19:14:42.288" v="455" actId="478"/>
            <ac:spMkLst>
              <pc:docMk/>
              <pc:sldMasterMk cId="2659633419" sldId="2147483679"/>
              <pc:sldLayoutMk cId="2566489590" sldId="2147483735"/>
              <ac:spMk id="4" creationId="{DAB78245-F602-B59D-9347-42493BDA687B}"/>
            </ac:spMkLst>
          </pc:spChg>
          <pc:spChg chg="del">
            <ac:chgData name="Fitzgerald, Madeline" userId="c680c3b0-1f97-40c6-b06e-80efdcdb988b" providerId="ADAL" clId="{7D7F6A71-8EE9-4312-A690-2D5603A3A30C}" dt="2025-05-28T19:14:43.390" v="456" actId="478"/>
            <ac:spMkLst>
              <pc:docMk/>
              <pc:sldMasterMk cId="2659633419" sldId="2147483679"/>
              <pc:sldLayoutMk cId="2566489590" sldId="2147483735"/>
              <ac:spMk id="8" creationId="{6B90C570-9A5A-BB37-3FAC-29DEB411CC5A}"/>
            </ac:spMkLst>
          </pc:spChg>
          <pc:picChg chg="del">
            <ac:chgData name="Fitzgerald, Madeline" userId="c680c3b0-1f97-40c6-b06e-80efdcdb988b" providerId="ADAL" clId="{7D7F6A71-8EE9-4312-A690-2D5603A3A30C}" dt="2025-05-28T19:14:43.992" v="457" actId="478"/>
            <ac:picMkLst>
              <pc:docMk/>
              <pc:sldMasterMk cId="2659633419" sldId="2147483679"/>
              <pc:sldLayoutMk cId="2566489590" sldId="2147483735"/>
              <ac:picMk id="6" creationId="{71004D2F-F092-A5C2-4ADB-7545E59219A3}"/>
            </ac:picMkLst>
          </pc:picChg>
          <pc:picChg chg="del">
            <ac:chgData name="Fitzgerald, Madeline" userId="c680c3b0-1f97-40c6-b06e-80efdcdb988b" providerId="ADAL" clId="{7D7F6A71-8EE9-4312-A690-2D5603A3A30C}" dt="2025-05-28T19:14:44.930" v="458" actId="478"/>
            <ac:picMkLst>
              <pc:docMk/>
              <pc:sldMasterMk cId="2659633419" sldId="2147483679"/>
              <pc:sldLayoutMk cId="2566489590" sldId="2147483735"/>
              <ac:picMk id="15" creationId="{32194554-1D04-2814-ACCE-E31F08852668}"/>
            </ac:picMkLst>
          </pc:picChg>
          <pc:cxnChg chg="del">
            <ac:chgData name="Fitzgerald, Madeline" userId="c680c3b0-1f97-40c6-b06e-80efdcdb988b" providerId="ADAL" clId="{7D7F6A71-8EE9-4312-A690-2D5603A3A30C}" dt="2025-05-28T19:14:38.067" v="453" actId="478"/>
            <ac:cxnSpMkLst>
              <pc:docMk/>
              <pc:sldMasterMk cId="2659633419" sldId="2147483679"/>
              <pc:sldLayoutMk cId="2566489590" sldId="2147483735"/>
              <ac:cxnSpMk id="10" creationId="{BACF0636-BF52-E125-2BBE-0B6A28C2F4C1}"/>
            </ac:cxnSpMkLst>
          </pc:cxnChg>
        </pc:sldLayoutChg>
        <pc:sldLayoutChg chg="delSp mod">
          <pc:chgData name="Fitzgerald, Madeline" userId="c680c3b0-1f97-40c6-b06e-80efdcdb988b" providerId="ADAL" clId="{7D7F6A71-8EE9-4312-A690-2D5603A3A30C}" dt="2025-05-28T19:16:35.528" v="539" actId="478"/>
          <pc:sldLayoutMkLst>
            <pc:docMk/>
            <pc:sldMasterMk cId="2659633419" sldId="2147483679"/>
            <pc:sldLayoutMk cId="1287308188" sldId="2147483736"/>
          </pc:sldLayoutMkLst>
          <pc:spChg chg="del">
            <ac:chgData name="Fitzgerald, Madeline" userId="c680c3b0-1f97-40c6-b06e-80efdcdb988b" providerId="ADAL" clId="{7D7F6A71-8EE9-4312-A690-2D5603A3A30C}" dt="2025-05-28T19:16:33.389" v="536" actId="478"/>
            <ac:spMkLst>
              <pc:docMk/>
              <pc:sldMasterMk cId="2659633419" sldId="2147483679"/>
              <pc:sldLayoutMk cId="1287308188" sldId="2147483736"/>
              <ac:spMk id="7" creationId="{B0279DBE-F32D-C2F8-3A85-1C103D259CB0}"/>
            </ac:spMkLst>
          </pc:spChg>
          <pc:spChg chg="del">
            <ac:chgData name="Fitzgerald, Madeline" userId="c680c3b0-1f97-40c6-b06e-80efdcdb988b" providerId="ADAL" clId="{7D7F6A71-8EE9-4312-A690-2D5603A3A30C}" dt="2025-05-28T19:16:32.237" v="535" actId="478"/>
            <ac:spMkLst>
              <pc:docMk/>
              <pc:sldMasterMk cId="2659633419" sldId="2147483679"/>
              <pc:sldLayoutMk cId="1287308188" sldId="2147483736"/>
              <ac:spMk id="20" creationId="{DF416B0D-2499-002F-7721-8DA278880EFD}"/>
            </ac:spMkLst>
          </pc:spChg>
          <pc:spChg chg="del">
            <ac:chgData name="Fitzgerald, Madeline" userId="c680c3b0-1f97-40c6-b06e-80efdcdb988b" providerId="ADAL" clId="{7D7F6A71-8EE9-4312-A690-2D5603A3A30C}" dt="2025-05-28T19:16:34.061" v="537" actId="478"/>
            <ac:spMkLst>
              <pc:docMk/>
              <pc:sldMasterMk cId="2659633419" sldId="2147483679"/>
              <pc:sldLayoutMk cId="1287308188" sldId="2147483736"/>
              <ac:spMk id="23" creationId="{59B13EA6-95FC-4931-D94E-76CD767560A5}"/>
            </ac:spMkLst>
          </pc:spChg>
          <pc:picChg chg="del">
            <ac:chgData name="Fitzgerald, Madeline" userId="c680c3b0-1f97-40c6-b06e-80efdcdb988b" providerId="ADAL" clId="{7D7F6A71-8EE9-4312-A690-2D5603A3A30C}" dt="2025-05-28T19:16:35.161" v="538" actId="478"/>
            <ac:picMkLst>
              <pc:docMk/>
              <pc:sldMasterMk cId="2659633419" sldId="2147483679"/>
              <pc:sldLayoutMk cId="1287308188" sldId="2147483736"/>
              <ac:picMk id="6" creationId="{E3F74690-6671-D291-EC87-CA8846DA30DF}"/>
            </ac:picMkLst>
          </pc:picChg>
          <pc:picChg chg="del">
            <ac:chgData name="Fitzgerald, Madeline" userId="c680c3b0-1f97-40c6-b06e-80efdcdb988b" providerId="ADAL" clId="{7D7F6A71-8EE9-4312-A690-2D5603A3A30C}" dt="2025-05-28T19:16:35.528" v="539" actId="478"/>
            <ac:picMkLst>
              <pc:docMk/>
              <pc:sldMasterMk cId="2659633419" sldId="2147483679"/>
              <pc:sldLayoutMk cId="1287308188" sldId="2147483736"/>
              <ac:picMk id="24" creationId="{F794F068-63F6-499E-D216-F39441E6B0A6}"/>
            </ac:picMkLst>
          </pc:picChg>
          <pc:cxnChg chg="del">
            <ac:chgData name="Fitzgerald, Madeline" userId="c680c3b0-1f97-40c6-b06e-80efdcdb988b" providerId="ADAL" clId="{7D7F6A71-8EE9-4312-A690-2D5603A3A30C}" dt="2025-05-28T19:16:31.492" v="534" actId="478"/>
            <ac:cxnSpMkLst>
              <pc:docMk/>
              <pc:sldMasterMk cId="2659633419" sldId="2147483679"/>
              <pc:sldLayoutMk cId="1287308188" sldId="2147483736"/>
              <ac:cxnSpMk id="3" creationId="{6EB4B362-3391-D784-0F0C-DC000D3D5CD0}"/>
            </ac:cxnSpMkLst>
          </pc:cxnChg>
        </pc:sldLayoutChg>
        <pc:sldLayoutChg chg="delSp mod">
          <pc:chgData name="Fitzgerald, Madeline" userId="c680c3b0-1f97-40c6-b06e-80efdcdb988b" providerId="ADAL" clId="{7D7F6A71-8EE9-4312-A690-2D5603A3A30C}" dt="2025-05-28T18:53:44.797" v="125" actId="478"/>
          <pc:sldLayoutMkLst>
            <pc:docMk/>
            <pc:sldMasterMk cId="2659633419" sldId="2147483679"/>
            <pc:sldLayoutMk cId="2688625793" sldId="2147483737"/>
          </pc:sldLayoutMkLst>
          <pc:spChg chg="del">
            <ac:chgData name="Fitzgerald, Madeline" userId="c680c3b0-1f97-40c6-b06e-80efdcdb988b" providerId="ADAL" clId="{7D7F6A71-8EE9-4312-A690-2D5603A3A30C}" dt="2025-05-28T18:53:42.486" v="122" actId="478"/>
            <ac:spMkLst>
              <pc:docMk/>
              <pc:sldMasterMk cId="2659633419" sldId="2147483679"/>
              <pc:sldLayoutMk cId="2688625793" sldId="2147483737"/>
              <ac:spMk id="3" creationId="{444FD647-5EFF-6074-722B-992407D56F73}"/>
            </ac:spMkLst>
          </pc:spChg>
          <pc:spChg chg="del">
            <ac:chgData name="Fitzgerald, Madeline" userId="c680c3b0-1f97-40c6-b06e-80efdcdb988b" providerId="ADAL" clId="{7D7F6A71-8EE9-4312-A690-2D5603A3A30C}" dt="2025-05-28T18:53:41.175" v="121" actId="478"/>
            <ac:spMkLst>
              <pc:docMk/>
              <pc:sldMasterMk cId="2659633419" sldId="2147483679"/>
              <pc:sldLayoutMk cId="2688625793" sldId="2147483737"/>
              <ac:spMk id="20" creationId="{DF416B0D-2499-002F-7721-8DA278880EFD}"/>
            </ac:spMkLst>
          </pc:spChg>
          <pc:spChg chg="del">
            <ac:chgData name="Fitzgerald, Madeline" userId="c680c3b0-1f97-40c6-b06e-80efdcdb988b" providerId="ADAL" clId="{7D7F6A71-8EE9-4312-A690-2D5603A3A30C}" dt="2025-05-28T18:53:43.302" v="123" actId="478"/>
            <ac:spMkLst>
              <pc:docMk/>
              <pc:sldMasterMk cId="2659633419" sldId="2147483679"/>
              <pc:sldLayoutMk cId="2688625793" sldId="2147483737"/>
              <ac:spMk id="23" creationId="{59B13EA6-95FC-4931-D94E-76CD767560A5}"/>
            </ac:spMkLst>
          </pc:spChg>
          <pc:picChg chg="del">
            <ac:chgData name="Fitzgerald, Madeline" userId="c680c3b0-1f97-40c6-b06e-80efdcdb988b" providerId="ADAL" clId="{7D7F6A71-8EE9-4312-A690-2D5603A3A30C}" dt="2025-05-28T18:53:44.797" v="125" actId="478"/>
            <ac:picMkLst>
              <pc:docMk/>
              <pc:sldMasterMk cId="2659633419" sldId="2147483679"/>
              <pc:sldLayoutMk cId="2688625793" sldId="2147483737"/>
              <ac:picMk id="5" creationId="{D885E4E4-53BD-0F46-8ACB-5776BEAC35B1}"/>
            </ac:picMkLst>
          </pc:picChg>
          <pc:picChg chg="del">
            <ac:chgData name="Fitzgerald, Madeline" userId="c680c3b0-1f97-40c6-b06e-80efdcdb988b" providerId="ADAL" clId="{7D7F6A71-8EE9-4312-A690-2D5603A3A30C}" dt="2025-05-28T18:53:44.062" v="124" actId="478"/>
            <ac:picMkLst>
              <pc:docMk/>
              <pc:sldMasterMk cId="2659633419" sldId="2147483679"/>
              <pc:sldLayoutMk cId="2688625793" sldId="2147483737"/>
              <ac:picMk id="24" creationId="{F794F068-63F6-499E-D216-F39441E6B0A6}"/>
            </ac:picMkLst>
          </pc:picChg>
          <pc:cxnChg chg="del">
            <ac:chgData name="Fitzgerald, Madeline" userId="c680c3b0-1f97-40c6-b06e-80efdcdb988b" providerId="ADAL" clId="{7D7F6A71-8EE9-4312-A690-2D5603A3A30C}" dt="2025-05-28T18:53:38.952" v="120" actId="478"/>
            <ac:cxnSpMkLst>
              <pc:docMk/>
              <pc:sldMasterMk cId="2659633419" sldId="2147483679"/>
              <pc:sldLayoutMk cId="2688625793" sldId="2147483737"/>
              <ac:cxnSpMk id="28" creationId="{254E42BE-DF6D-668F-8B41-99AFB1495989}"/>
            </ac:cxnSpMkLst>
          </pc:cxnChg>
        </pc:sldLayoutChg>
      </pc:sldMasterChg>
    </pc:docChg>
  </pc:docChgLst>
  <pc:docChgLst>
    <pc:chgData name="Priyam Somani" userId="8a115662f918b979" providerId="LiveId" clId="{69EA1C00-8FC5-499C-A07E-83A95D25BC7E}"/>
    <pc:docChg chg="undo redo custSel addSld delSld modSld modSection">
      <pc:chgData name="Priyam Somani" userId="8a115662f918b979" providerId="LiveId" clId="{69EA1C00-8FC5-499C-A07E-83A95D25BC7E}" dt="2025-05-13T15:52:42.726" v="710" actId="47"/>
      <pc:docMkLst>
        <pc:docMk/>
      </pc:docMkLst>
      <pc:sldChg chg="modSp mod">
        <pc:chgData name="Priyam Somani" userId="8a115662f918b979" providerId="LiveId" clId="{69EA1C00-8FC5-499C-A07E-83A95D25BC7E}" dt="2025-05-13T14:18:37.565" v="13" actId="20577"/>
        <pc:sldMkLst>
          <pc:docMk/>
          <pc:sldMk cId="1311376065" sldId="386"/>
        </pc:sldMkLst>
      </pc:sldChg>
      <pc:sldChg chg="modSp mod">
        <pc:chgData name="Priyam Somani" userId="8a115662f918b979" providerId="LiveId" clId="{69EA1C00-8FC5-499C-A07E-83A95D25BC7E}" dt="2025-05-13T14:18:48.107" v="22" actId="27636"/>
        <pc:sldMkLst>
          <pc:docMk/>
          <pc:sldMk cId="2985181947" sldId="391"/>
        </pc:sldMkLst>
      </pc:sldChg>
      <pc:sldChg chg="del">
        <pc:chgData name="Priyam Somani" userId="8a115662f918b979" providerId="LiveId" clId="{69EA1C00-8FC5-499C-A07E-83A95D25BC7E}" dt="2025-05-13T14:18:22.678" v="0" actId="47"/>
        <pc:sldMkLst>
          <pc:docMk/>
          <pc:sldMk cId="2284973025" sldId="415"/>
        </pc:sldMkLst>
      </pc:sldChg>
      <pc:sldChg chg="del">
        <pc:chgData name="Priyam Somani" userId="8a115662f918b979" providerId="LiveId" clId="{69EA1C00-8FC5-499C-A07E-83A95D25BC7E}" dt="2025-05-13T15:52:42.726" v="710" actId="47"/>
        <pc:sldMkLst>
          <pc:docMk/>
          <pc:sldMk cId="3158055003" sldId="416"/>
        </pc:sldMkLst>
      </pc:sldChg>
      <pc:sldChg chg="del">
        <pc:chgData name="Priyam Somani" userId="8a115662f918b979" providerId="LiveId" clId="{69EA1C00-8FC5-499C-A07E-83A95D25BC7E}" dt="2025-05-13T15:38:54.974" v="584" actId="47"/>
        <pc:sldMkLst>
          <pc:docMk/>
          <pc:sldMk cId="1187169368" sldId="418"/>
        </pc:sldMkLst>
      </pc:sldChg>
      <pc:sldChg chg="mod modShow">
        <pc:chgData name="Priyam Somani" userId="8a115662f918b979" providerId="LiveId" clId="{69EA1C00-8FC5-499C-A07E-83A95D25BC7E}" dt="2025-05-13T15:39:06.847" v="585" actId="729"/>
        <pc:sldMkLst>
          <pc:docMk/>
          <pc:sldMk cId="2734771092" sldId="428"/>
        </pc:sldMkLst>
      </pc:sldChg>
      <pc:sldChg chg="mod modShow">
        <pc:chgData name="Priyam Somani" userId="8a115662f918b979" providerId="LiveId" clId="{69EA1C00-8FC5-499C-A07E-83A95D25BC7E}" dt="2025-05-13T15:39:09.192" v="586" actId="729"/>
        <pc:sldMkLst>
          <pc:docMk/>
          <pc:sldMk cId="2949998840" sldId="429"/>
        </pc:sldMkLst>
      </pc:sldChg>
      <pc:sldChg chg="mod modShow">
        <pc:chgData name="Priyam Somani" userId="8a115662f918b979" providerId="LiveId" clId="{69EA1C00-8FC5-499C-A07E-83A95D25BC7E}" dt="2025-05-13T15:39:10.966" v="587" actId="729"/>
        <pc:sldMkLst>
          <pc:docMk/>
          <pc:sldMk cId="4148277725" sldId="430"/>
        </pc:sldMkLst>
      </pc:sldChg>
      <pc:sldChg chg="mod modShow">
        <pc:chgData name="Priyam Somani" userId="8a115662f918b979" providerId="LiveId" clId="{69EA1C00-8FC5-499C-A07E-83A95D25BC7E}" dt="2025-05-13T15:39:16.388" v="589" actId="729"/>
        <pc:sldMkLst>
          <pc:docMk/>
          <pc:sldMk cId="2530414830" sldId="431"/>
        </pc:sldMkLst>
      </pc:sldChg>
      <pc:sldChg chg="mod modShow">
        <pc:chgData name="Priyam Somani" userId="8a115662f918b979" providerId="LiveId" clId="{69EA1C00-8FC5-499C-A07E-83A95D25BC7E}" dt="2025-05-13T15:39:13.140" v="588" actId="729"/>
        <pc:sldMkLst>
          <pc:docMk/>
          <pc:sldMk cId="2813832334" sldId="433"/>
        </pc:sldMkLst>
      </pc:sldChg>
      <pc:sldChg chg="mod modShow">
        <pc:chgData name="Priyam Somani" userId="8a115662f918b979" providerId="LiveId" clId="{69EA1C00-8FC5-499C-A07E-83A95D25BC7E}" dt="2025-05-13T15:39:18.392" v="590" actId="729"/>
        <pc:sldMkLst>
          <pc:docMk/>
          <pc:sldMk cId="2195984643" sldId="434"/>
        </pc:sldMkLst>
      </pc:sldChg>
      <pc:sldChg chg="add del">
        <pc:chgData name="Priyam Somani" userId="8a115662f918b979" providerId="LiveId" clId="{69EA1C00-8FC5-499C-A07E-83A95D25BC7E}" dt="2025-05-13T15:38:53.816" v="583" actId="47"/>
        <pc:sldMkLst>
          <pc:docMk/>
          <pc:sldMk cId="2496309300" sldId="443"/>
        </pc:sldMkLst>
      </pc:sldChg>
      <pc:sldChg chg="addSp modSp mod modNotesTx">
        <pc:chgData name="Priyam Somani" userId="8a115662f918b979" providerId="LiveId" clId="{69EA1C00-8FC5-499C-A07E-83A95D25BC7E}" dt="2025-05-13T14:32:15.212" v="84" actId="20578"/>
        <pc:sldMkLst>
          <pc:docMk/>
          <pc:sldMk cId="1798399341" sldId="447"/>
        </pc:sldMkLst>
      </pc:sldChg>
      <pc:sldChg chg="addSp delSp modSp mod modShow modNotesTx">
        <pc:chgData name="Priyam Somani" userId="8a115662f918b979" providerId="LiveId" clId="{69EA1C00-8FC5-499C-A07E-83A95D25BC7E}" dt="2025-05-13T15:52:36.069" v="708" actId="729"/>
        <pc:sldMkLst>
          <pc:docMk/>
          <pc:sldMk cId="4181580604" sldId="448"/>
        </pc:sldMkLst>
      </pc:sldChg>
      <pc:sldChg chg="del">
        <pc:chgData name="Priyam Somani" userId="8a115662f918b979" providerId="LiveId" clId="{69EA1C00-8FC5-499C-A07E-83A95D25BC7E}" dt="2025-05-13T15:37:39.296" v="578" actId="47"/>
        <pc:sldMkLst>
          <pc:docMk/>
          <pc:sldMk cId="243492203" sldId="449"/>
        </pc:sldMkLst>
      </pc:sldChg>
      <pc:sldChg chg="del">
        <pc:chgData name="Priyam Somani" userId="8a115662f918b979" providerId="LiveId" clId="{69EA1C00-8FC5-499C-A07E-83A95D25BC7E}" dt="2025-05-13T15:38:40.837" v="579" actId="47"/>
        <pc:sldMkLst>
          <pc:docMk/>
          <pc:sldMk cId="3947648154" sldId="450"/>
        </pc:sldMkLst>
      </pc:sldChg>
      <pc:sldChg chg="del">
        <pc:chgData name="Priyam Somani" userId="8a115662f918b979" providerId="LiveId" clId="{69EA1C00-8FC5-499C-A07E-83A95D25BC7E}" dt="2025-05-13T15:38:41.857" v="580" actId="47"/>
        <pc:sldMkLst>
          <pc:docMk/>
          <pc:sldMk cId="329204609" sldId="451"/>
        </pc:sldMkLst>
      </pc:sldChg>
      <pc:sldChg chg="addSp delSp modSp new mod">
        <pc:chgData name="Priyam Somani" userId="8a115662f918b979" providerId="LiveId" clId="{69EA1C00-8FC5-499C-A07E-83A95D25BC7E}" dt="2025-05-13T14:44:24.278" v="352" actId="21"/>
        <pc:sldMkLst>
          <pc:docMk/>
          <pc:sldMk cId="197560797" sldId="457"/>
        </pc:sldMkLst>
        <pc:graphicFrameChg chg="add mod modGraphic">
          <ac:chgData name="Priyam Somani" userId="8a115662f918b979" providerId="LiveId" clId="{69EA1C00-8FC5-499C-A07E-83A95D25BC7E}" dt="2025-05-13T14:42:04.660" v="170" actId="1076"/>
          <ac:graphicFrameMkLst>
            <pc:docMk/>
            <pc:sldMk cId="197560797" sldId="457"/>
            <ac:graphicFrameMk id="9" creationId="{5D934A52-665E-08E1-CD39-9A8C877220AD}"/>
          </ac:graphicFrameMkLst>
        </pc:graphicFrameChg>
      </pc:sldChg>
      <pc:sldChg chg="addSp delSp modSp new mod">
        <pc:chgData name="Priyam Somani" userId="8a115662f918b979" providerId="LiveId" clId="{69EA1C00-8FC5-499C-A07E-83A95D25BC7E}" dt="2025-05-13T14:44:53.846" v="373" actId="478"/>
        <pc:sldMkLst>
          <pc:docMk/>
          <pc:sldMk cId="3254969896" sldId="458"/>
        </pc:sldMkLst>
      </pc:sldChg>
      <pc:sldChg chg="addSp delSp modSp new mod modClrScheme chgLayout modNotesTx">
        <pc:chgData name="Priyam Somani" userId="8a115662f918b979" providerId="LiveId" clId="{69EA1C00-8FC5-499C-A07E-83A95D25BC7E}" dt="2025-05-13T15:37:11.028" v="577" actId="6549"/>
        <pc:sldMkLst>
          <pc:docMk/>
          <pc:sldMk cId="2543669901" sldId="459"/>
        </pc:sldMkLst>
        <pc:spChg chg="mod">
          <ac:chgData name="Priyam Somani" userId="8a115662f918b979" providerId="LiveId" clId="{69EA1C00-8FC5-499C-A07E-83A95D25BC7E}" dt="2025-05-13T15:23:21.233" v="439" actId="26606"/>
          <ac:spMkLst>
            <pc:docMk/>
            <pc:sldMk cId="2543669901" sldId="459"/>
            <ac:spMk id="2" creationId="{CA2635CA-6598-2AC3-F490-F1A3A2CF20EA}"/>
          </ac:spMkLst>
        </pc:spChg>
        <pc:spChg chg="add mod">
          <ac:chgData name="Priyam Somani" userId="8a115662f918b979" providerId="LiveId" clId="{69EA1C00-8FC5-499C-A07E-83A95D25BC7E}" dt="2025-05-13T15:37:04.559" v="576" actId="14100"/>
          <ac:spMkLst>
            <pc:docMk/>
            <pc:sldMk cId="2543669901" sldId="459"/>
            <ac:spMk id="24" creationId="{5B6D4F6A-C7DF-F55D-3573-9224E58601CA}"/>
          </ac:spMkLst>
        </pc:spChg>
        <pc:spChg chg="add mod">
          <ac:chgData name="Priyam Somani" userId="8a115662f918b979" providerId="LiveId" clId="{69EA1C00-8FC5-499C-A07E-83A95D25BC7E}" dt="2025-05-13T15:37:11.028" v="577" actId="6549"/>
          <ac:spMkLst>
            <pc:docMk/>
            <pc:sldMk cId="2543669901" sldId="459"/>
            <ac:spMk id="29" creationId="{311FFF52-B5B2-2435-A4F8-C73E376DE0AE}"/>
          </ac:spMkLst>
        </pc:spChg>
        <pc:picChg chg="add mod">
          <ac:chgData name="Priyam Somani" userId="8a115662f918b979" providerId="LiveId" clId="{69EA1C00-8FC5-499C-A07E-83A95D25BC7E}" dt="2025-05-13T15:23:26.389" v="441" actId="1076"/>
          <ac:picMkLst>
            <pc:docMk/>
            <pc:sldMk cId="2543669901" sldId="459"/>
            <ac:picMk id="3089" creationId="{5E71ECB9-9E87-CF9E-91D5-3639D793C906}"/>
          </ac:picMkLst>
        </pc:picChg>
      </pc:sldChg>
      <pc:sldChg chg="delSp modSp add mod modShow">
        <pc:chgData name="Priyam Somani" userId="8a115662f918b979" providerId="LiveId" clId="{69EA1C00-8FC5-499C-A07E-83A95D25BC7E}" dt="2025-05-13T15:52:38.882" v="709" actId="729"/>
        <pc:sldMkLst>
          <pc:docMk/>
          <pc:sldMk cId="38267672" sldId="460"/>
        </pc:sldMkLst>
      </pc:sldChg>
      <pc:sldChg chg="new del">
        <pc:chgData name="Priyam Somani" userId="8a115662f918b979" providerId="LiveId" clId="{69EA1C00-8FC5-499C-A07E-83A95D25BC7E}" dt="2025-05-13T14:51:32.133" v="422" actId="680"/>
        <pc:sldMkLst>
          <pc:docMk/>
          <pc:sldMk cId="4127263623" sldId="460"/>
        </pc:sldMkLst>
      </pc:sldChg>
    </pc:docChg>
  </pc:docChgLst>
  <pc:docChgLst>
    <pc:chgData name="Somani, Priyam" userId="S::prs226@pitt.edu::fd9ca880-d0a6-4843-ba37-4bf7454632fe" providerId="AD" clId="Web-{A7E32EB2-8B87-1ABD-378C-6320BD2A6AE8}"/>
    <pc:docChg chg="modSld">
      <pc:chgData name="Somani, Priyam" userId="S::prs226@pitt.edu::fd9ca880-d0a6-4843-ba37-4bf7454632fe" providerId="AD" clId="Web-{A7E32EB2-8B87-1ABD-378C-6320BD2A6AE8}" dt="2025-05-19T15:22:43.570" v="19"/>
      <pc:docMkLst>
        <pc:docMk/>
      </pc:docMkLst>
      <pc:sldChg chg="modSp">
        <pc:chgData name="Somani, Priyam" userId="S::prs226@pitt.edu::fd9ca880-d0a6-4843-ba37-4bf7454632fe" providerId="AD" clId="Web-{A7E32EB2-8B87-1ABD-378C-6320BD2A6AE8}" dt="2025-05-19T15:22:43.570" v="19"/>
        <pc:sldMkLst>
          <pc:docMk/>
          <pc:sldMk cId="3625720286" sldId="454"/>
        </pc:sldMkLst>
      </pc:sldChg>
    </pc:docChg>
  </pc:docChgLst>
  <pc:docChgLst>
    <pc:chgData name="Somani, Priyam" userId="S::prs226@pitt.edu::fd9ca880-d0a6-4843-ba37-4bf7454632fe" providerId="AD" clId="Web-{3E6025A6-4424-DC28-03A3-2D7131D7CC43}"/>
    <pc:docChg chg="delSld">
      <pc:chgData name="Somani, Priyam" userId="S::prs226@pitt.edu::fd9ca880-d0a6-4843-ba37-4bf7454632fe" providerId="AD" clId="Web-{3E6025A6-4424-DC28-03A3-2D7131D7CC43}" dt="2025-06-06T18:30:25.232" v="0"/>
      <pc:docMkLst>
        <pc:docMk/>
      </pc:docMkLst>
      <pc:sldChg chg="del">
        <pc:chgData name="Somani, Priyam" userId="S::prs226@pitt.edu::fd9ca880-d0a6-4843-ba37-4bf7454632fe" providerId="AD" clId="Web-{3E6025A6-4424-DC28-03A3-2D7131D7CC43}" dt="2025-06-06T18:30:25.232" v="0"/>
        <pc:sldMkLst>
          <pc:docMk/>
          <pc:sldMk cId="3006985642" sldId="455"/>
        </pc:sldMkLst>
      </pc:sldChg>
    </pc:docChg>
  </pc:docChgLst>
  <pc:docChgLst>
    <pc:chgData name="Chris Gassman (he/him), CSB" userId="S::cjg125@pitt.edu::255d5b90-e4b1-47f3-87d9-bbdebc731cf9" providerId="AD" clId="Web-{CB9641A6-1FD2-90EB-D1D3-B31CE47843DB}"/>
    <pc:docChg chg="mod modSld">
      <pc:chgData name="Chris Gassman (he/him), CSB" userId="S::cjg125@pitt.edu::255d5b90-e4b1-47f3-87d9-bbdebc731cf9" providerId="AD" clId="Web-{CB9641A6-1FD2-90EB-D1D3-B31CE47843DB}" dt="2025-05-23T03:32:45.295" v="19"/>
      <pc:docMkLst>
        <pc:docMk/>
      </pc:docMkLst>
      <pc:sldChg chg="modSp">
        <pc:chgData name="Chris Gassman (he/him), CSB" userId="S::cjg125@pitt.edu::255d5b90-e4b1-47f3-87d9-bbdebc731cf9" providerId="AD" clId="Web-{CB9641A6-1FD2-90EB-D1D3-B31CE47843DB}" dt="2025-05-23T02:42:56.559" v="15" actId="20577"/>
        <pc:sldMkLst>
          <pc:docMk/>
          <pc:sldMk cId="490635505" sldId="388"/>
        </pc:sldMkLst>
      </pc:sldChg>
      <pc:sldChg chg="modSp">
        <pc:chgData name="Chris Gassman (he/him), CSB" userId="S::cjg125@pitt.edu::255d5b90-e4b1-47f3-87d9-bbdebc731cf9" providerId="AD" clId="Web-{CB9641A6-1FD2-90EB-D1D3-B31CE47843DB}" dt="2025-05-23T03:15:06.843" v="17"/>
        <pc:sldMkLst>
          <pc:docMk/>
          <pc:sldMk cId="1453918737" sldId="444"/>
        </pc:sldMkLst>
      </pc:sldChg>
      <pc:sldChg chg="modSp">
        <pc:chgData name="Chris Gassman (he/him), CSB" userId="S::cjg125@pitt.edu::255d5b90-e4b1-47f3-87d9-bbdebc731cf9" providerId="AD" clId="Web-{CB9641A6-1FD2-90EB-D1D3-B31CE47843DB}" dt="2025-05-23T02:18:48.318" v="5" actId="20577"/>
        <pc:sldMkLst>
          <pc:docMk/>
          <pc:sldMk cId="3880380257" sldId="451"/>
        </pc:sldMkLst>
        <pc:spChg chg="mod">
          <ac:chgData name="Chris Gassman (he/him), CSB" userId="S::cjg125@pitt.edu::255d5b90-e4b1-47f3-87d9-bbdebc731cf9" providerId="AD" clId="Web-{CB9641A6-1FD2-90EB-D1D3-B31CE47843DB}" dt="2025-05-23T02:18:48.318" v="5" actId="20577"/>
          <ac:spMkLst>
            <pc:docMk/>
            <pc:sldMk cId="3880380257" sldId="451"/>
            <ac:spMk id="5" creationId="{A39C5115-470F-265F-68A5-2CA0FE9340E5}"/>
          </ac:spMkLst>
        </pc:spChg>
      </pc:sldChg>
      <pc:sldChg chg="modSp">
        <pc:chgData name="Chris Gassman (he/him), CSB" userId="S::cjg125@pitt.edu::255d5b90-e4b1-47f3-87d9-bbdebc731cf9" providerId="AD" clId="Web-{CB9641A6-1FD2-90EB-D1D3-B31CE47843DB}" dt="2025-05-23T03:32:45.295" v="19"/>
        <pc:sldMkLst>
          <pc:docMk/>
          <pc:sldMk cId="197560797" sldId="457"/>
        </pc:sldMkLst>
      </pc:sldChg>
      <pc:sldChg chg="modSp">
        <pc:chgData name="Chris Gassman (he/him), CSB" userId="S::cjg125@pitt.edu::255d5b90-e4b1-47f3-87d9-bbdebc731cf9" providerId="AD" clId="Web-{CB9641A6-1FD2-90EB-D1D3-B31CE47843DB}" dt="2025-05-23T02:22:03.830" v="7" actId="20577"/>
        <pc:sldMkLst>
          <pc:docMk/>
          <pc:sldMk cId="274071638" sldId="461"/>
        </pc:sldMkLst>
        <pc:spChg chg="mod">
          <ac:chgData name="Chris Gassman (he/him), CSB" userId="S::cjg125@pitt.edu::255d5b90-e4b1-47f3-87d9-bbdebc731cf9" providerId="AD" clId="Web-{CB9641A6-1FD2-90EB-D1D3-B31CE47843DB}" dt="2025-05-23T02:22:03.830" v="7" actId="20577"/>
          <ac:spMkLst>
            <pc:docMk/>
            <pc:sldMk cId="274071638" sldId="461"/>
            <ac:spMk id="25" creationId="{E7F6F311-5442-C455-FC11-AF1C3B34BB20}"/>
          </ac:spMkLst>
        </pc:spChg>
      </pc:sldChg>
      <pc:sldChg chg="modSp">
        <pc:chgData name="Chris Gassman (he/him), CSB" userId="S::cjg125@pitt.edu::255d5b90-e4b1-47f3-87d9-bbdebc731cf9" providerId="AD" clId="Web-{CB9641A6-1FD2-90EB-D1D3-B31CE47843DB}" dt="2025-05-23T02:25:22.107" v="13" actId="20577"/>
        <pc:sldMkLst>
          <pc:docMk/>
          <pc:sldMk cId="3428846195" sldId="462"/>
        </pc:sldMkLst>
        <pc:spChg chg="mod">
          <ac:chgData name="Chris Gassman (he/him), CSB" userId="S::cjg125@pitt.edu::255d5b90-e4b1-47f3-87d9-bbdebc731cf9" providerId="AD" clId="Web-{CB9641A6-1FD2-90EB-D1D3-B31CE47843DB}" dt="2025-05-23T02:25:22.107" v="13" actId="20577"/>
          <ac:spMkLst>
            <pc:docMk/>
            <pc:sldMk cId="3428846195" sldId="462"/>
            <ac:spMk id="6" creationId="{AA77C8EF-8894-054B-FCFF-8222AD5F2CF9}"/>
          </ac:spMkLst>
        </pc:spChg>
      </pc:sldChg>
    </pc:docChg>
  </pc:docChgLst>
  <pc:docChgLst>
    <pc:chgData name="Somani, Priyam" userId="fd9ca880-d0a6-4843-ba37-4bf7454632fe" providerId="ADAL" clId="{8B9CA085-EC09-48EF-8D00-44ADCE8CDE4E}"/>
    <pc:docChg chg="undo redo custSel addSld delSld modSld sldOrd">
      <pc:chgData name="Somani, Priyam" userId="fd9ca880-d0a6-4843-ba37-4bf7454632fe" providerId="ADAL" clId="{8B9CA085-EC09-48EF-8D00-44ADCE8CDE4E}" dt="2025-06-03T21:05:02.981" v="3068" actId="207"/>
      <pc:docMkLst>
        <pc:docMk/>
      </pc:docMkLst>
      <pc:sldChg chg="add del">
        <pc:chgData name="Somani, Priyam" userId="fd9ca880-d0a6-4843-ba37-4bf7454632fe" providerId="ADAL" clId="{8B9CA085-EC09-48EF-8D00-44ADCE8CDE4E}" dt="2025-05-28T18:39:15.640" v="2747" actId="47"/>
        <pc:sldMkLst>
          <pc:docMk/>
          <pc:sldMk cId="0" sldId="256"/>
        </pc:sldMkLst>
      </pc:sldChg>
      <pc:sldChg chg="addSp delSp modSp mod modAnim modCm">
        <pc:chgData name="Somani, Priyam" userId="fd9ca880-d0a6-4843-ba37-4bf7454632fe" providerId="ADAL" clId="{8B9CA085-EC09-48EF-8D00-44ADCE8CDE4E}" dt="2025-05-25T00:07:58.726" v="847" actId="1076"/>
        <pc:sldMkLst>
          <pc:docMk/>
          <pc:sldMk cId="852523260" sldId="357"/>
        </pc:sldMkLst>
        <pc:spChg chg="mod">
          <ac:chgData name="Somani, Priyam" userId="fd9ca880-d0a6-4843-ba37-4bf7454632fe" providerId="ADAL" clId="{8B9CA085-EC09-48EF-8D00-44ADCE8CDE4E}" dt="2025-05-25T00:04:07.219" v="784" actId="1076"/>
          <ac:spMkLst>
            <pc:docMk/>
            <pc:sldMk cId="852523260" sldId="357"/>
            <ac:spMk id="3" creationId="{9381B3BA-E0A5-457F-93F2-309E3BFD923A}"/>
          </ac:spMkLst>
        </pc:spChg>
        <pc:spChg chg="mod">
          <ac:chgData name="Somani, Priyam" userId="fd9ca880-d0a6-4843-ba37-4bf7454632fe" providerId="ADAL" clId="{8B9CA085-EC09-48EF-8D00-44ADCE8CDE4E}" dt="2025-05-25T00:04:07.219" v="784" actId="1076"/>
          <ac:spMkLst>
            <pc:docMk/>
            <pc:sldMk cId="852523260" sldId="357"/>
            <ac:spMk id="13" creationId="{54C2ED8C-E4B0-42D1-1E48-10F2983B0581}"/>
          </ac:spMkLst>
        </pc:spChg>
        <pc:picChg chg="mod">
          <ac:chgData name="Somani, Priyam" userId="fd9ca880-d0a6-4843-ba37-4bf7454632fe" providerId="ADAL" clId="{8B9CA085-EC09-48EF-8D00-44ADCE8CDE4E}" dt="2025-05-25T00:04:07.219" v="784" actId="1076"/>
          <ac:picMkLst>
            <pc:docMk/>
            <pc:sldMk cId="852523260" sldId="357"/>
            <ac:picMk id="7" creationId="{F1975F9E-D640-FD6F-D62E-C9AF110793BC}"/>
          </ac:picMkLst>
        </pc:picChg>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5T00:05:42.549" v="811" actId="6549"/>
              <pc2:cmMkLst xmlns:pc2="http://schemas.microsoft.com/office/powerpoint/2019/9/main/command">
                <pc:docMk/>
                <pc:sldMk cId="852523260" sldId="357"/>
                <pc2:cmMk id="{7D42170F-C39F-4C83-AF61-3B0A082551E3}"/>
              </pc2:cmMkLst>
            </pc226:cmChg>
            <pc226:cmChg xmlns:pc226="http://schemas.microsoft.com/office/powerpoint/2022/06/main/command" chg="mod">
              <pc226:chgData name="Somani, Priyam" userId="fd9ca880-d0a6-4843-ba37-4bf7454632fe" providerId="ADAL" clId="{8B9CA085-EC09-48EF-8D00-44ADCE8CDE4E}" dt="2025-05-25T00:05:42.549" v="811" actId="6549"/>
              <pc2:cmMkLst xmlns:pc2="http://schemas.microsoft.com/office/powerpoint/2019/9/main/command">
                <pc:docMk/>
                <pc:sldMk cId="852523260" sldId="357"/>
                <pc2:cmMk id="{0FB3632A-CA85-4195-8EC7-7E68239F37D8}"/>
              </pc2:cmMkLst>
            </pc226:cmChg>
            <pc226:cmChg xmlns:pc226="http://schemas.microsoft.com/office/powerpoint/2022/06/main/command" chg="mod">
              <pc226:chgData name="Somani, Priyam" userId="fd9ca880-d0a6-4843-ba37-4bf7454632fe" providerId="ADAL" clId="{8B9CA085-EC09-48EF-8D00-44ADCE8CDE4E}" dt="2025-05-25T00:05:42.549" v="811" actId="6549"/>
              <pc2:cmMkLst xmlns:pc2="http://schemas.microsoft.com/office/powerpoint/2019/9/main/command">
                <pc:docMk/>
                <pc:sldMk cId="852523260" sldId="357"/>
                <pc2:cmMk id="{50503550-5658-4313-8A43-DC5A4766C41C}"/>
              </pc2:cmMkLst>
            </pc226:cmChg>
            <pc226:cmChg xmlns:pc226="http://schemas.microsoft.com/office/powerpoint/2022/06/main/command" chg="mod">
              <pc226:chgData name="Somani, Priyam" userId="fd9ca880-d0a6-4843-ba37-4bf7454632fe" providerId="ADAL" clId="{8B9CA085-EC09-48EF-8D00-44ADCE8CDE4E}" dt="2025-05-25T00:05:42.549" v="811" actId="6549"/>
              <pc2:cmMkLst xmlns:pc2="http://schemas.microsoft.com/office/powerpoint/2019/9/main/command">
                <pc:docMk/>
                <pc:sldMk cId="852523260" sldId="357"/>
                <pc2:cmMk id="{7E6C6DC8-D486-47C1-B2B0-6621E7A1A080}"/>
              </pc2:cmMkLst>
            </pc226:cmChg>
            <pc226:cmChg xmlns:pc226="http://schemas.microsoft.com/office/powerpoint/2022/06/main/command" chg="mod">
              <pc226:chgData name="Somani, Priyam" userId="fd9ca880-d0a6-4843-ba37-4bf7454632fe" providerId="ADAL" clId="{8B9CA085-EC09-48EF-8D00-44ADCE8CDE4E}" dt="2025-05-25T00:05:42.549" v="811" actId="6549"/>
              <pc2:cmMkLst xmlns:pc2="http://schemas.microsoft.com/office/powerpoint/2019/9/main/command">
                <pc:docMk/>
                <pc:sldMk cId="852523260" sldId="357"/>
                <pc2:cmMk id="{AFA148E0-AFF3-4B2C-801A-1FADA2BFD236}"/>
              </pc2:cmMkLst>
            </pc226:cmChg>
          </p:ext>
        </pc:extLst>
      </pc:sldChg>
      <pc:sldChg chg="modSp mod">
        <pc:chgData name="Somani, Priyam" userId="fd9ca880-d0a6-4843-ba37-4bf7454632fe" providerId="ADAL" clId="{8B9CA085-EC09-48EF-8D00-44ADCE8CDE4E}" dt="2025-05-27T09:04:54.770" v="1933" actId="404"/>
        <pc:sldMkLst>
          <pc:docMk/>
          <pc:sldMk cId="3848777021" sldId="359"/>
        </pc:sldMkLst>
        <pc:spChg chg="mod">
          <ac:chgData name="Somani, Priyam" userId="fd9ca880-d0a6-4843-ba37-4bf7454632fe" providerId="ADAL" clId="{8B9CA085-EC09-48EF-8D00-44ADCE8CDE4E}" dt="2025-05-27T09:04:48.792" v="1931" actId="403"/>
          <ac:spMkLst>
            <pc:docMk/>
            <pc:sldMk cId="3848777021" sldId="359"/>
            <ac:spMk id="4" creationId="{4922EA65-633A-9D47-0B09-12E3E62A5B0E}"/>
          </ac:spMkLst>
        </pc:spChg>
        <pc:spChg chg="mod">
          <ac:chgData name="Somani, Priyam" userId="fd9ca880-d0a6-4843-ba37-4bf7454632fe" providerId="ADAL" clId="{8B9CA085-EC09-48EF-8D00-44ADCE8CDE4E}" dt="2025-05-27T09:04:54.770" v="1933" actId="404"/>
          <ac:spMkLst>
            <pc:docMk/>
            <pc:sldMk cId="3848777021" sldId="359"/>
            <ac:spMk id="5" creationId="{3FD56D6D-DE0E-607F-655C-51410EBDD351}"/>
          </ac:spMkLst>
        </pc:spChg>
      </pc:sldChg>
      <pc:sldChg chg="modSp mod modCm">
        <pc:chgData name="Somani, Priyam" userId="fd9ca880-d0a6-4843-ba37-4bf7454632fe" providerId="ADAL" clId="{8B9CA085-EC09-48EF-8D00-44ADCE8CDE4E}" dt="2025-05-26T01:32:09.016" v="1107" actId="20577"/>
        <pc:sldMkLst>
          <pc:docMk/>
          <pc:sldMk cId="3150467674" sldId="382"/>
        </pc:sldMkLst>
        <pc:spChg chg="mod">
          <ac:chgData name="Somani, Priyam" userId="fd9ca880-d0a6-4843-ba37-4bf7454632fe" providerId="ADAL" clId="{8B9CA085-EC09-48EF-8D00-44ADCE8CDE4E}" dt="2025-05-26T01:30:54.706" v="1037" actId="404"/>
          <ac:spMkLst>
            <pc:docMk/>
            <pc:sldMk cId="3150467674" sldId="382"/>
            <ac:spMk id="12" creationId="{45CE1FFC-FEC9-6DA9-C23B-29E4558001AB}"/>
          </ac:spMkLst>
        </pc:spChg>
        <pc:spChg chg="mod">
          <ac:chgData name="Somani, Priyam" userId="fd9ca880-d0a6-4843-ba37-4bf7454632fe" providerId="ADAL" clId="{8B9CA085-EC09-48EF-8D00-44ADCE8CDE4E}" dt="2025-05-26T01:32:09.016" v="1107" actId="20577"/>
          <ac:spMkLst>
            <pc:docMk/>
            <pc:sldMk cId="3150467674" sldId="382"/>
            <ac:spMk id="13" creationId="{D3781003-C743-796F-7693-406B607796E7}"/>
          </ac:spMkLst>
        </pc:spChg>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6T01:30:47.759" v="1036" actId="20577"/>
              <pc2:cmMkLst xmlns:pc2="http://schemas.microsoft.com/office/powerpoint/2019/9/main/command">
                <pc:docMk/>
                <pc:sldMk cId="3150467674" sldId="382"/>
                <pc2:cmMk id="{904FD593-C20A-4340-8437-EE2CA9021D41}"/>
              </pc2:cmMkLst>
            </pc226:cmChg>
          </p:ext>
        </pc:extLst>
      </pc:sldChg>
      <pc:sldChg chg="addSp delSp modSp mod ord">
        <pc:chgData name="Somani, Priyam" userId="fd9ca880-d0a6-4843-ba37-4bf7454632fe" providerId="ADAL" clId="{8B9CA085-EC09-48EF-8D00-44ADCE8CDE4E}" dt="2025-06-03T19:49:07.830" v="2771"/>
        <pc:sldMkLst>
          <pc:docMk/>
          <pc:sldMk cId="1561694634" sldId="387"/>
        </pc:sldMkLst>
        <pc:spChg chg="add mod">
          <ac:chgData name="Somani, Priyam" userId="fd9ca880-d0a6-4843-ba37-4bf7454632fe" providerId="ADAL" clId="{8B9CA085-EC09-48EF-8D00-44ADCE8CDE4E}" dt="2025-06-03T19:49:07.830" v="2771"/>
          <ac:spMkLst>
            <pc:docMk/>
            <pc:sldMk cId="1561694634" sldId="387"/>
            <ac:spMk id="4" creationId="{2F5AC832-56D2-4FBA-4CE4-FB2597A165A2}"/>
          </ac:spMkLst>
        </pc:spChg>
        <pc:spChg chg="del mod">
          <ac:chgData name="Somani, Priyam" userId="fd9ca880-d0a6-4843-ba37-4bf7454632fe" providerId="ADAL" clId="{8B9CA085-EC09-48EF-8D00-44ADCE8CDE4E}" dt="2025-06-03T19:48:44.735" v="2765" actId="478"/>
          <ac:spMkLst>
            <pc:docMk/>
            <pc:sldMk cId="1561694634" sldId="387"/>
            <ac:spMk id="5" creationId="{DA65D50E-A605-7889-311B-EF358FB000B1}"/>
          </ac:spMkLst>
        </pc:spChg>
        <pc:spChg chg="mod">
          <ac:chgData name="Somani, Priyam" userId="fd9ca880-d0a6-4843-ba37-4bf7454632fe" providerId="ADAL" clId="{8B9CA085-EC09-48EF-8D00-44ADCE8CDE4E}" dt="2025-05-28T18:46:49.726" v="2749" actId="27636"/>
          <ac:spMkLst>
            <pc:docMk/>
            <pc:sldMk cId="1561694634" sldId="387"/>
            <ac:spMk id="15" creationId="{F215EFF2-C53B-92F2-A5F5-A6264917DB23}"/>
          </ac:spMkLst>
        </pc:spChg>
        <pc:spChg chg="del mod">
          <ac:chgData name="Somani, Priyam" userId="fd9ca880-d0a6-4843-ba37-4bf7454632fe" providerId="ADAL" clId="{8B9CA085-EC09-48EF-8D00-44ADCE8CDE4E}" dt="2025-06-03T19:48:41.064" v="2762" actId="478"/>
          <ac:spMkLst>
            <pc:docMk/>
            <pc:sldMk cId="1561694634" sldId="387"/>
            <ac:spMk id="18" creationId="{1176937F-41E9-5264-BC18-3F7ADE7674F3}"/>
          </ac:spMkLst>
        </pc:spChg>
        <pc:picChg chg="add mod">
          <ac:chgData name="Somani, Priyam" userId="fd9ca880-d0a6-4843-ba37-4bf7454632fe" providerId="ADAL" clId="{8B9CA085-EC09-48EF-8D00-44ADCE8CDE4E}" dt="2025-06-03T19:48:51.443" v="2767" actId="1076"/>
          <ac:picMkLst>
            <pc:docMk/>
            <pc:sldMk cId="1561694634" sldId="387"/>
            <ac:picMk id="3" creationId="{15F277D9-2130-2388-41F7-7CA6C5626E1B}"/>
          </ac:picMkLst>
        </pc:picChg>
      </pc:sldChg>
      <pc:sldChg chg="modSp mod">
        <pc:chgData name="Somani, Priyam" userId="fd9ca880-d0a6-4843-ba37-4bf7454632fe" providerId="ADAL" clId="{8B9CA085-EC09-48EF-8D00-44ADCE8CDE4E}" dt="2025-05-27T09:09:31.783" v="2029" actId="403"/>
        <pc:sldMkLst>
          <pc:docMk/>
          <pc:sldMk cId="2675709549" sldId="389"/>
        </pc:sldMkLst>
      </pc:sldChg>
      <pc:sldChg chg="modSp mod">
        <pc:chgData name="Somani, Priyam" userId="fd9ca880-d0a6-4843-ba37-4bf7454632fe" providerId="ADAL" clId="{8B9CA085-EC09-48EF-8D00-44ADCE8CDE4E}" dt="2025-05-27T09:09:52.690" v="2034" actId="14100"/>
        <pc:sldMkLst>
          <pc:docMk/>
          <pc:sldMk cId="2532721541" sldId="390"/>
        </pc:sldMkLst>
      </pc:sldChg>
      <pc:sldChg chg="addSp delSp modSp mod">
        <pc:chgData name="Somani, Priyam" userId="fd9ca880-d0a6-4843-ba37-4bf7454632fe" providerId="ADAL" clId="{8B9CA085-EC09-48EF-8D00-44ADCE8CDE4E}" dt="2025-05-27T08:58:39.265" v="1706"/>
        <pc:sldMkLst>
          <pc:docMk/>
          <pc:sldMk cId="2734771092" sldId="428"/>
        </pc:sldMkLst>
        <pc:spChg chg="mod">
          <ac:chgData name="Somani, Priyam" userId="fd9ca880-d0a6-4843-ba37-4bf7454632fe" providerId="ADAL" clId="{8B9CA085-EC09-48EF-8D00-44ADCE8CDE4E}" dt="2025-05-27T08:58:00.066" v="1697" actId="1076"/>
          <ac:spMkLst>
            <pc:docMk/>
            <pc:sldMk cId="2734771092" sldId="428"/>
            <ac:spMk id="3" creationId="{9974FC10-5D05-BF98-0951-EABD5A9AA0B0}"/>
          </ac:spMkLst>
        </pc:spChg>
        <pc:spChg chg="add mod">
          <ac:chgData name="Somani, Priyam" userId="fd9ca880-d0a6-4843-ba37-4bf7454632fe" providerId="ADAL" clId="{8B9CA085-EC09-48EF-8D00-44ADCE8CDE4E}" dt="2025-05-27T08:58:39.265" v="1706"/>
          <ac:spMkLst>
            <pc:docMk/>
            <pc:sldMk cId="2734771092" sldId="428"/>
            <ac:spMk id="7" creationId="{987D1F84-71CD-1E00-F5A9-E1AB799E53A7}"/>
          </ac:spMkLst>
        </pc:spChg>
        <pc:picChg chg="add mod">
          <ac:chgData name="Somani, Priyam" userId="fd9ca880-d0a6-4843-ba37-4bf7454632fe" providerId="ADAL" clId="{8B9CA085-EC09-48EF-8D00-44ADCE8CDE4E}" dt="2025-05-27T08:58:39.265" v="1706"/>
          <ac:picMkLst>
            <pc:docMk/>
            <pc:sldMk cId="2734771092" sldId="428"/>
            <ac:picMk id="6" creationId="{25C6D4D1-E4CC-396F-6DC5-C3DCA8A156AE}"/>
          </ac:picMkLst>
        </pc:picChg>
      </pc:sldChg>
      <pc:sldChg chg="addSp delSp modSp mod">
        <pc:chgData name="Somani, Priyam" userId="fd9ca880-d0a6-4843-ba37-4bf7454632fe" providerId="ADAL" clId="{8B9CA085-EC09-48EF-8D00-44ADCE8CDE4E}" dt="2025-06-03T19:51:19.326" v="2804" actId="20577"/>
        <pc:sldMkLst>
          <pc:docMk/>
          <pc:sldMk cId="2949998840" sldId="429"/>
        </pc:sldMkLst>
        <pc:spChg chg="mod">
          <ac:chgData name="Somani, Priyam" userId="fd9ca880-d0a6-4843-ba37-4bf7454632fe" providerId="ADAL" clId="{8B9CA085-EC09-48EF-8D00-44ADCE8CDE4E}" dt="2025-06-03T19:51:19.326" v="2804" actId="20577"/>
          <ac:spMkLst>
            <pc:docMk/>
            <pc:sldMk cId="2949998840" sldId="429"/>
            <ac:spMk id="3" creationId="{39ADCF4D-B9E8-577D-6B82-2FE4E610C8FE}"/>
          </ac:spMkLst>
        </pc:spChg>
        <pc:spChg chg="add mod">
          <ac:chgData name="Somani, Priyam" userId="fd9ca880-d0a6-4843-ba37-4bf7454632fe" providerId="ADAL" clId="{8B9CA085-EC09-48EF-8D00-44ADCE8CDE4E}" dt="2025-05-27T08:58:43.479" v="1707"/>
          <ac:spMkLst>
            <pc:docMk/>
            <pc:sldMk cId="2949998840" sldId="429"/>
            <ac:spMk id="7" creationId="{3DEDA400-DC4B-6ACC-D76F-A3125E9D7DEA}"/>
          </ac:spMkLst>
        </pc:spChg>
        <pc:picChg chg="add mod">
          <ac:chgData name="Somani, Priyam" userId="fd9ca880-d0a6-4843-ba37-4bf7454632fe" providerId="ADAL" clId="{8B9CA085-EC09-48EF-8D00-44ADCE8CDE4E}" dt="2025-05-27T08:58:43.479" v="1707"/>
          <ac:picMkLst>
            <pc:docMk/>
            <pc:sldMk cId="2949998840" sldId="429"/>
            <ac:picMk id="6" creationId="{C4CC32EE-A410-F1D5-E42C-19125B81DA36}"/>
          </ac:picMkLst>
        </pc:picChg>
      </pc:sldChg>
      <pc:sldChg chg="addSp delSp modSp mod">
        <pc:chgData name="Somani, Priyam" userId="fd9ca880-d0a6-4843-ba37-4bf7454632fe" providerId="ADAL" clId="{8B9CA085-EC09-48EF-8D00-44ADCE8CDE4E}" dt="2025-05-27T08:58:48.857" v="1709"/>
        <pc:sldMkLst>
          <pc:docMk/>
          <pc:sldMk cId="4148277725" sldId="430"/>
        </pc:sldMkLst>
        <pc:spChg chg="add mod">
          <ac:chgData name="Somani, Priyam" userId="fd9ca880-d0a6-4843-ba37-4bf7454632fe" providerId="ADAL" clId="{8B9CA085-EC09-48EF-8D00-44ADCE8CDE4E}" dt="2025-05-27T08:58:48.857" v="1709"/>
          <ac:spMkLst>
            <pc:docMk/>
            <pc:sldMk cId="4148277725" sldId="430"/>
            <ac:spMk id="6" creationId="{52877E1E-0B36-9919-B2DB-2C90326E84DC}"/>
          </ac:spMkLst>
        </pc:spChg>
        <pc:picChg chg="add mod">
          <ac:chgData name="Somani, Priyam" userId="fd9ca880-d0a6-4843-ba37-4bf7454632fe" providerId="ADAL" clId="{8B9CA085-EC09-48EF-8D00-44ADCE8CDE4E}" dt="2025-05-27T08:58:48.857" v="1709"/>
          <ac:picMkLst>
            <pc:docMk/>
            <pc:sldMk cId="4148277725" sldId="430"/>
            <ac:picMk id="4" creationId="{FA78E97F-C324-30AC-4B21-898076107FDD}"/>
          </ac:picMkLst>
        </pc:picChg>
      </pc:sldChg>
      <pc:sldChg chg="addSp delSp modSp mod">
        <pc:chgData name="Somani, Priyam" userId="fd9ca880-d0a6-4843-ba37-4bf7454632fe" providerId="ADAL" clId="{8B9CA085-EC09-48EF-8D00-44ADCE8CDE4E}" dt="2025-05-27T08:59:03.428" v="1713"/>
        <pc:sldMkLst>
          <pc:docMk/>
          <pc:sldMk cId="2530414830" sldId="431"/>
        </pc:sldMkLst>
        <pc:spChg chg="add mod">
          <ac:chgData name="Somani, Priyam" userId="fd9ca880-d0a6-4843-ba37-4bf7454632fe" providerId="ADAL" clId="{8B9CA085-EC09-48EF-8D00-44ADCE8CDE4E}" dt="2025-05-27T08:59:03.428" v="1713"/>
          <ac:spMkLst>
            <pc:docMk/>
            <pc:sldMk cId="2530414830" sldId="431"/>
            <ac:spMk id="6" creationId="{B4269573-F594-A255-02EE-A8BC25565E8D}"/>
          </ac:spMkLst>
        </pc:spChg>
        <pc:picChg chg="add mod">
          <ac:chgData name="Somani, Priyam" userId="fd9ca880-d0a6-4843-ba37-4bf7454632fe" providerId="ADAL" clId="{8B9CA085-EC09-48EF-8D00-44ADCE8CDE4E}" dt="2025-05-27T08:59:03.428" v="1713"/>
          <ac:picMkLst>
            <pc:docMk/>
            <pc:sldMk cId="2530414830" sldId="431"/>
            <ac:picMk id="4" creationId="{48E66556-7F81-18F2-D2EA-E72434F40C42}"/>
          </ac:picMkLst>
        </pc:picChg>
      </pc:sldChg>
      <pc:sldChg chg="addSp delSp modSp mod">
        <pc:chgData name="Somani, Priyam" userId="fd9ca880-d0a6-4843-ba37-4bf7454632fe" providerId="ADAL" clId="{8B9CA085-EC09-48EF-8D00-44ADCE8CDE4E}" dt="2025-05-27T08:58:57.353" v="1711"/>
        <pc:sldMkLst>
          <pc:docMk/>
          <pc:sldMk cId="2813832334" sldId="433"/>
        </pc:sldMkLst>
        <pc:spChg chg="mod">
          <ac:chgData name="Somani, Priyam" userId="fd9ca880-d0a6-4843-ba37-4bf7454632fe" providerId="ADAL" clId="{8B9CA085-EC09-48EF-8D00-44ADCE8CDE4E}" dt="2025-05-24T23:35:42.606" v="555" actId="14100"/>
          <ac:spMkLst>
            <pc:docMk/>
            <pc:sldMk cId="2813832334" sldId="433"/>
            <ac:spMk id="3" creationId="{91B79F6B-E90E-1952-AA09-6DECC2493507}"/>
          </ac:spMkLst>
        </pc:spChg>
        <pc:spChg chg="add mod">
          <ac:chgData name="Somani, Priyam" userId="fd9ca880-d0a6-4843-ba37-4bf7454632fe" providerId="ADAL" clId="{8B9CA085-EC09-48EF-8D00-44ADCE8CDE4E}" dt="2025-05-27T08:58:57.353" v="1711"/>
          <ac:spMkLst>
            <pc:docMk/>
            <pc:sldMk cId="2813832334" sldId="433"/>
            <ac:spMk id="9" creationId="{510282D9-CAA2-439F-BAC0-47F68ACB7B75}"/>
          </ac:spMkLst>
        </pc:spChg>
        <pc:picChg chg="add mod">
          <ac:chgData name="Somani, Priyam" userId="fd9ca880-d0a6-4843-ba37-4bf7454632fe" providerId="ADAL" clId="{8B9CA085-EC09-48EF-8D00-44ADCE8CDE4E}" dt="2025-05-27T08:58:57.353" v="1711"/>
          <ac:picMkLst>
            <pc:docMk/>
            <pc:sldMk cId="2813832334" sldId="433"/>
            <ac:picMk id="8" creationId="{F044FB81-2C36-7949-CEFA-AEAF90A904FE}"/>
          </ac:picMkLst>
        </pc:picChg>
      </pc:sldChg>
      <pc:sldChg chg="addSp delSp modSp mod">
        <pc:chgData name="Somani, Priyam" userId="fd9ca880-d0a6-4843-ba37-4bf7454632fe" providerId="ADAL" clId="{8B9CA085-EC09-48EF-8D00-44ADCE8CDE4E}" dt="2025-05-27T08:59:08.112" v="1715"/>
        <pc:sldMkLst>
          <pc:docMk/>
          <pc:sldMk cId="2195984643" sldId="434"/>
        </pc:sldMkLst>
        <pc:spChg chg="add mod">
          <ac:chgData name="Somani, Priyam" userId="fd9ca880-d0a6-4843-ba37-4bf7454632fe" providerId="ADAL" clId="{8B9CA085-EC09-48EF-8D00-44ADCE8CDE4E}" dt="2025-05-27T08:59:08.112" v="1715"/>
          <ac:spMkLst>
            <pc:docMk/>
            <pc:sldMk cId="2195984643" sldId="434"/>
            <ac:spMk id="6" creationId="{12AC565F-957B-5140-C8B3-DCD70332BF87}"/>
          </ac:spMkLst>
        </pc:spChg>
        <pc:picChg chg="add mod">
          <ac:chgData name="Somani, Priyam" userId="fd9ca880-d0a6-4843-ba37-4bf7454632fe" providerId="ADAL" clId="{8B9CA085-EC09-48EF-8D00-44ADCE8CDE4E}" dt="2025-05-27T08:59:08.112" v="1715"/>
          <ac:picMkLst>
            <pc:docMk/>
            <pc:sldMk cId="2195984643" sldId="434"/>
            <ac:picMk id="4" creationId="{1AB47989-9E27-3908-8B18-AA6C234AC512}"/>
          </ac:picMkLst>
        </pc:picChg>
      </pc:sldChg>
      <pc:sldChg chg="addSp delSp modSp mod delAnim modAnim">
        <pc:chgData name="Somani, Priyam" userId="fd9ca880-d0a6-4843-ba37-4bf7454632fe" providerId="ADAL" clId="{8B9CA085-EC09-48EF-8D00-44ADCE8CDE4E}" dt="2025-05-28T18:07:18.378" v="2317" actId="1076"/>
        <pc:sldMkLst>
          <pc:docMk/>
          <pc:sldMk cId="1869322492" sldId="435"/>
        </pc:sldMkLst>
        <pc:spChg chg="mod">
          <ac:chgData name="Somani, Priyam" userId="fd9ca880-d0a6-4843-ba37-4bf7454632fe" providerId="ADAL" clId="{8B9CA085-EC09-48EF-8D00-44ADCE8CDE4E}" dt="2025-05-27T20:11:09.948" v="2149" actId="20577"/>
          <ac:spMkLst>
            <pc:docMk/>
            <pc:sldMk cId="1869322492" sldId="435"/>
            <ac:spMk id="8" creationId="{6EF55A33-B31A-AFE8-2893-FDED3EFB64A8}"/>
          </ac:spMkLst>
        </pc:spChg>
        <pc:spChg chg="mod">
          <ac:chgData name="Somani, Priyam" userId="fd9ca880-d0a6-4843-ba37-4bf7454632fe" providerId="ADAL" clId="{8B9CA085-EC09-48EF-8D00-44ADCE8CDE4E}" dt="2025-05-28T18:01:49.373" v="2309" actId="20577"/>
          <ac:spMkLst>
            <pc:docMk/>
            <pc:sldMk cId="1869322492" sldId="435"/>
            <ac:spMk id="11" creationId="{95AC4FFC-3B8F-A5EF-D76B-8D3B234BB39A}"/>
          </ac:spMkLst>
        </pc:spChg>
        <pc:spChg chg="mod">
          <ac:chgData name="Somani, Priyam" userId="fd9ca880-d0a6-4843-ba37-4bf7454632fe" providerId="ADAL" clId="{8B9CA085-EC09-48EF-8D00-44ADCE8CDE4E}" dt="2025-05-28T18:07:12.913" v="2315" actId="1076"/>
          <ac:spMkLst>
            <pc:docMk/>
            <pc:sldMk cId="1869322492" sldId="435"/>
            <ac:spMk id="17" creationId="{C6205509-FA8E-4B0F-1F01-F85E1775C949}"/>
          </ac:spMkLst>
        </pc:spChg>
        <pc:spChg chg="mod">
          <ac:chgData name="Somani, Priyam" userId="fd9ca880-d0a6-4843-ba37-4bf7454632fe" providerId="ADAL" clId="{8B9CA085-EC09-48EF-8D00-44ADCE8CDE4E}" dt="2025-05-28T18:07:18.378" v="2317" actId="1076"/>
          <ac:spMkLst>
            <pc:docMk/>
            <pc:sldMk cId="1869322492" sldId="435"/>
            <ac:spMk id="24" creationId="{BFD6CD04-45AA-E1A6-38EC-EC6184E4CF31}"/>
          </ac:spMkLst>
        </pc:spChg>
        <pc:spChg chg="mod">
          <ac:chgData name="Somani, Priyam" userId="fd9ca880-d0a6-4843-ba37-4bf7454632fe" providerId="ADAL" clId="{8B9CA085-EC09-48EF-8D00-44ADCE8CDE4E}" dt="2025-05-28T18:07:15.767" v="2316" actId="1076"/>
          <ac:spMkLst>
            <pc:docMk/>
            <pc:sldMk cId="1869322492" sldId="435"/>
            <ac:spMk id="31" creationId="{B5E9C985-37A8-D042-772B-CD0D1D709203}"/>
          </ac:spMkLst>
        </pc:spChg>
      </pc:sldChg>
      <pc:sldChg chg="addSp delSp modSp mod">
        <pc:chgData name="Somani, Priyam" userId="fd9ca880-d0a6-4843-ba37-4bf7454632fe" providerId="ADAL" clId="{8B9CA085-EC09-48EF-8D00-44ADCE8CDE4E}" dt="2025-05-27T09:10:25.826" v="2047" actId="20577"/>
        <pc:sldMkLst>
          <pc:docMk/>
          <pc:sldMk cId="658288104" sldId="437"/>
        </pc:sldMkLst>
        <pc:spChg chg="mod">
          <ac:chgData name="Somani, Priyam" userId="fd9ca880-d0a6-4843-ba37-4bf7454632fe" providerId="ADAL" clId="{8B9CA085-EC09-48EF-8D00-44ADCE8CDE4E}" dt="2025-05-27T08:59:31.277" v="1719" actId="14100"/>
          <ac:spMkLst>
            <pc:docMk/>
            <pc:sldMk cId="658288104" sldId="437"/>
            <ac:spMk id="8" creationId="{B26ECA8E-DDB2-8DAD-2588-D06826A99441}"/>
          </ac:spMkLst>
        </pc:spChg>
        <pc:spChg chg="add mod">
          <ac:chgData name="Somani, Priyam" userId="fd9ca880-d0a6-4843-ba37-4bf7454632fe" providerId="ADAL" clId="{8B9CA085-EC09-48EF-8D00-44ADCE8CDE4E}" dt="2025-05-27T08:59:27.252" v="1717"/>
          <ac:spMkLst>
            <pc:docMk/>
            <pc:sldMk cId="658288104" sldId="437"/>
            <ac:spMk id="9" creationId="{66F3E826-E6F1-BCA5-2F73-6813596CBB37}"/>
          </ac:spMkLst>
        </pc:spChg>
        <pc:picChg chg="add mod">
          <ac:chgData name="Somani, Priyam" userId="fd9ca880-d0a6-4843-ba37-4bf7454632fe" providerId="ADAL" clId="{8B9CA085-EC09-48EF-8D00-44ADCE8CDE4E}" dt="2025-05-27T08:59:27.252" v="1717"/>
          <ac:picMkLst>
            <pc:docMk/>
            <pc:sldMk cId="658288104" sldId="437"/>
            <ac:picMk id="7" creationId="{F9199CDD-0E4D-2410-8152-92F8F30A23AD}"/>
          </ac:picMkLst>
        </pc:picChg>
      </pc:sldChg>
      <pc:sldChg chg="addSp delSp modSp mod">
        <pc:chgData name="Somani, Priyam" userId="fd9ca880-d0a6-4843-ba37-4bf7454632fe" providerId="ADAL" clId="{8B9CA085-EC09-48EF-8D00-44ADCE8CDE4E}" dt="2025-05-27T09:11:41.639" v="2070" actId="2711"/>
        <pc:sldMkLst>
          <pc:docMk/>
          <pc:sldMk cId="3965176274" sldId="438"/>
        </pc:sldMkLst>
        <pc:spChg chg="mod">
          <ac:chgData name="Somani, Priyam" userId="fd9ca880-d0a6-4843-ba37-4bf7454632fe" providerId="ADAL" clId="{8B9CA085-EC09-48EF-8D00-44ADCE8CDE4E}" dt="2025-05-27T09:11:41.639" v="2070" actId="2711"/>
          <ac:spMkLst>
            <pc:docMk/>
            <pc:sldMk cId="3965176274" sldId="438"/>
            <ac:spMk id="4" creationId="{CF3222A6-E06F-D774-1771-D9D92C8E1D2E}"/>
          </ac:spMkLst>
        </pc:spChg>
        <pc:spChg chg="add mod">
          <ac:chgData name="Somani, Priyam" userId="fd9ca880-d0a6-4843-ba37-4bf7454632fe" providerId="ADAL" clId="{8B9CA085-EC09-48EF-8D00-44ADCE8CDE4E}" dt="2025-05-27T08:59:55.598" v="1725"/>
          <ac:spMkLst>
            <pc:docMk/>
            <pc:sldMk cId="3965176274" sldId="438"/>
            <ac:spMk id="8" creationId="{18BC0FD6-D58E-DF4F-0F76-AFBFA10FB3AA}"/>
          </ac:spMkLst>
        </pc:spChg>
        <pc:picChg chg="mod">
          <ac:chgData name="Somani, Priyam" userId="fd9ca880-d0a6-4843-ba37-4bf7454632fe" providerId="ADAL" clId="{8B9CA085-EC09-48EF-8D00-44ADCE8CDE4E}" dt="2025-05-27T09:11:15.997" v="2061" actId="14100"/>
          <ac:picMkLst>
            <pc:docMk/>
            <pc:sldMk cId="3965176274" sldId="438"/>
            <ac:picMk id="6" creationId="{9EB05A65-68A9-0340-EF02-A9623F22640E}"/>
          </ac:picMkLst>
        </pc:picChg>
        <pc:picChg chg="add mod">
          <ac:chgData name="Somani, Priyam" userId="fd9ca880-d0a6-4843-ba37-4bf7454632fe" providerId="ADAL" clId="{8B9CA085-EC09-48EF-8D00-44ADCE8CDE4E}" dt="2025-05-27T08:59:55.598" v="1725"/>
          <ac:picMkLst>
            <pc:docMk/>
            <pc:sldMk cId="3965176274" sldId="438"/>
            <ac:picMk id="7" creationId="{17B414EF-81DC-B8AA-291E-DE47AF68B8BD}"/>
          </ac:picMkLst>
        </pc:picChg>
      </pc:sldChg>
      <pc:sldChg chg="addSp delSp modSp mod">
        <pc:chgData name="Somani, Priyam" userId="fd9ca880-d0a6-4843-ba37-4bf7454632fe" providerId="ADAL" clId="{8B9CA085-EC09-48EF-8D00-44ADCE8CDE4E}" dt="2025-05-27T09:11:57.341" v="2076" actId="27636"/>
        <pc:sldMkLst>
          <pc:docMk/>
          <pc:sldMk cId="2393856727" sldId="439"/>
        </pc:sldMkLst>
        <pc:spChg chg="add mod">
          <ac:chgData name="Somani, Priyam" userId="fd9ca880-d0a6-4843-ba37-4bf7454632fe" providerId="ADAL" clId="{8B9CA085-EC09-48EF-8D00-44ADCE8CDE4E}" dt="2025-05-27T09:00:14.153" v="1732"/>
          <ac:spMkLst>
            <pc:docMk/>
            <pc:sldMk cId="2393856727" sldId="439"/>
            <ac:spMk id="8" creationId="{89B6F2C4-F5ED-B15D-ECD6-B255A1AF86C0}"/>
          </ac:spMkLst>
        </pc:spChg>
        <pc:picChg chg="add mod">
          <ac:chgData name="Somani, Priyam" userId="fd9ca880-d0a6-4843-ba37-4bf7454632fe" providerId="ADAL" clId="{8B9CA085-EC09-48EF-8D00-44ADCE8CDE4E}" dt="2025-05-27T09:00:14.153" v="1732"/>
          <ac:picMkLst>
            <pc:docMk/>
            <pc:sldMk cId="2393856727" sldId="439"/>
            <ac:picMk id="4" creationId="{A51F8D4A-550A-36A1-1E66-51A0C01C21E7}"/>
          </ac:picMkLst>
        </pc:picChg>
      </pc:sldChg>
      <pc:sldChg chg="addSp delSp modSp mod">
        <pc:chgData name="Somani, Priyam" userId="fd9ca880-d0a6-4843-ba37-4bf7454632fe" providerId="ADAL" clId="{8B9CA085-EC09-48EF-8D00-44ADCE8CDE4E}" dt="2025-06-03T19:53:58.564" v="2845" actId="14100"/>
        <pc:sldMkLst>
          <pc:docMk/>
          <pc:sldMk cId="1381110918" sldId="440"/>
        </pc:sldMkLst>
        <pc:spChg chg="add mod">
          <ac:chgData name="Somani, Priyam" userId="fd9ca880-d0a6-4843-ba37-4bf7454632fe" providerId="ADAL" clId="{8B9CA085-EC09-48EF-8D00-44ADCE8CDE4E}" dt="2025-06-03T19:53:58.564" v="2845" actId="14100"/>
          <ac:spMkLst>
            <pc:docMk/>
            <pc:sldMk cId="1381110918" sldId="440"/>
            <ac:spMk id="2" creationId="{99A51149-09CF-1846-3035-87D55AF7BB81}"/>
          </ac:spMkLst>
        </pc:spChg>
        <pc:spChg chg="add mod">
          <ac:chgData name="Somani, Priyam" userId="fd9ca880-d0a6-4843-ba37-4bf7454632fe" providerId="ADAL" clId="{8B9CA085-EC09-48EF-8D00-44ADCE8CDE4E}" dt="2025-05-27T09:06:09.485" v="1950" actId="1076"/>
          <ac:spMkLst>
            <pc:docMk/>
            <pc:sldMk cId="1381110918" sldId="440"/>
            <ac:spMk id="7" creationId="{F3806777-F69A-4FAE-ECE6-451C5C538D03}"/>
          </ac:spMkLst>
        </pc:spChg>
      </pc:sldChg>
      <pc:sldChg chg="modSp mod">
        <pc:chgData name="Somani, Priyam" userId="fd9ca880-d0a6-4843-ba37-4bf7454632fe" providerId="ADAL" clId="{8B9CA085-EC09-48EF-8D00-44ADCE8CDE4E}" dt="2025-06-03T19:49:02.897" v="2769" actId="1076"/>
        <pc:sldMkLst>
          <pc:docMk/>
          <pc:sldMk cId="915522470" sldId="441"/>
        </pc:sldMkLst>
        <pc:picChg chg="mod">
          <ac:chgData name="Somani, Priyam" userId="fd9ca880-d0a6-4843-ba37-4bf7454632fe" providerId="ADAL" clId="{8B9CA085-EC09-48EF-8D00-44ADCE8CDE4E}" dt="2025-06-03T19:49:02.897" v="2769" actId="1076"/>
          <ac:picMkLst>
            <pc:docMk/>
            <pc:sldMk cId="915522470" sldId="441"/>
            <ac:picMk id="12" creationId="{71574D89-5C79-6370-8036-FABF1C9A5820}"/>
          </ac:picMkLst>
        </pc:picChg>
      </pc:sldChg>
      <pc:sldChg chg="modSp mod ord">
        <pc:chgData name="Somani, Priyam" userId="fd9ca880-d0a6-4843-ba37-4bf7454632fe" providerId="ADAL" clId="{8B9CA085-EC09-48EF-8D00-44ADCE8CDE4E}" dt="2025-05-28T18:15:24.332" v="2323"/>
        <pc:sldMkLst>
          <pc:docMk/>
          <pc:sldMk cId="835244869" sldId="442"/>
        </pc:sldMkLst>
        <pc:graphicFrameChg chg="mod">
          <ac:chgData name="Somani, Priyam" userId="fd9ca880-d0a6-4843-ba37-4bf7454632fe" providerId="ADAL" clId="{8B9CA085-EC09-48EF-8D00-44ADCE8CDE4E}" dt="2025-05-28T18:12:51.655" v="2319" actId="14100"/>
          <ac:graphicFrameMkLst>
            <pc:docMk/>
            <pc:sldMk cId="835244869" sldId="442"/>
            <ac:graphicFrameMk id="3" creationId="{D7D69FAC-2AC0-86C9-F533-2431E052B23A}"/>
          </ac:graphicFrameMkLst>
        </pc:graphicFrameChg>
      </pc:sldChg>
      <pc:sldChg chg="addSp delSp modSp mod">
        <pc:chgData name="Somani, Priyam" userId="fd9ca880-d0a6-4843-ba37-4bf7454632fe" providerId="ADAL" clId="{8B9CA085-EC09-48EF-8D00-44ADCE8CDE4E}" dt="2025-06-03T19:56:16.886" v="2923" actId="1076"/>
        <pc:sldMkLst>
          <pc:docMk/>
          <pc:sldMk cId="1453918737" sldId="444"/>
        </pc:sldMkLst>
        <pc:spChg chg="add mod">
          <ac:chgData name="Somani, Priyam" userId="fd9ca880-d0a6-4843-ba37-4bf7454632fe" providerId="ADAL" clId="{8B9CA085-EC09-48EF-8D00-44ADCE8CDE4E}" dt="2025-06-03T19:56:16.886" v="2923" actId="1076"/>
          <ac:spMkLst>
            <pc:docMk/>
            <pc:sldMk cId="1453918737" sldId="444"/>
            <ac:spMk id="2" creationId="{C3866CA7-353D-6E53-EC92-8E95418EA0A8}"/>
          </ac:spMkLst>
        </pc:spChg>
        <pc:spChg chg="mod">
          <ac:chgData name="Somani, Priyam" userId="fd9ca880-d0a6-4843-ba37-4bf7454632fe" providerId="ADAL" clId="{8B9CA085-EC09-48EF-8D00-44ADCE8CDE4E}" dt="2025-05-28T18:31:00.074" v="2737" actId="20577"/>
          <ac:spMkLst>
            <pc:docMk/>
            <pc:sldMk cId="1453918737" sldId="444"/>
            <ac:spMk id="11" creationId="{7ABD7347-3B74-124F-9D39-C8D7C4341B26}"/>
          </ac:spMkLst>
        </pc:spChg>
        <pc:spChg chg="mod">
          <ac:chgData name="Somani, Priyam" userId="fd9ca880-d0a6-4843-ba37-4bf7454632fe" providerId="ADAL" clId="{8B9CA085-EC09-48EF-8D00-44ADCE8CDE4E}" dt="2025-05-27T08:44:05.854" v="1361" actId="12"/>
          <ac:spMkLst>
            <pc:docMk/>
            <pc:sldMk cId="1453918737" sldId="444"/>
            <ac:spMk id="12" creationId="{E98A0F81-B6CF-0D36-CDD4-0FDF82C8CBE2}"/>
          </ac:spMkLst>
        </pc:spChg>
        <pc:spChg chg="mod">
          <ac:chgData name="Somani, Priyam" userId="fd9ca880-d0a6-4843-ba37-4bf7454632fe" providerId="ADAL" clId="{8B9CA085-EC09-48EF-8D00-44ADCE8CDE4E}" dt="2025-05-28T18:34:38.553" v="2741" actId="20577"/>
          <ac:spMkLst>
            <pc:docMk/>
            <pc:sldMk cId="1453918737" sldId="444"/>
            <ac:spMk id="13" creationId="{710A83F8-63DC-AD3D-A190-EDDD0B6D1FDF}"/>
          </ac:spMkLst>
        </pc:spChg>
        <pc:graphicFrameChg chg="add mod">
          <ac:chgData name="Somani, Priyam" userId="fd9ca880-d0a6-4843-ba37-4bf7454632fe" providerId="ADAL" clId="{8B9CA085-EC09-48EF-8D00-44ADCE8CDE4E}" dt="2025-05-22T17:42:08.074" v="359" actId="20577"/>
          <ac:graphicFrameMkLst>
            <pc:docMk/>
            <pc:sldMk cId="1453918737" sldId="444"/>
            <ac:graphicFrameMk id="6" creationId="{2AE0D92B-0BC8-99A8-83B6-1356D06A5B7C}"/>
          </ac:graphicFrameMkLst>
        </pc:graphicFrameChg>
      </pc:sldChg>
      <pc:sldChg chg="modSp mod modAnim modCm">
        <pc:chgData name="Somani, Priyam" userId="fd9ca880-d0a6-4843-ba37-4bf7454632fe" providerId="ADAL" clId="{8B9CA085-EC09-48EF-8D00-44ADCE8CDE4E}" dt="2025-06-03T19:51:55.360" v="2813" actId="5793"/>
        <pc:sldMkLst>
          <pc:docMk/>
          <pc:sldMk cId="3521687261" sldId="445"/>
        </pc:sldMkLst>
        <pc:spChg chg="mod">
          <ac:chgData name="Somani, Priyam" userId="fd9ca880-d0a6-4843-ba37-4bf7454632fe" providerId="ADAL" clId="{8B9CA085-EC09-48EF-8D00-44ADCE8CDE4E}" dt="2025-05-28T16:56:11.458" v="2191" actId="20577"/>
          <ac:spMkLst>
            <pc:docMk/>
            <pc:sldMk cId="3521687261" sldId="445"/>
            <ac:spMk id="14" creationId="{97C7146B-32B8-30DC-2363-363F8E39A488}"/>
          </ac:spMkLst>
        </pc:spChg>
        <pc:spChg chg="mod">
          <ac:chgData name="Somani, Priyam" userId="fd9ca880-d0a6-4843-ba37-4bf7454632fe" providerId="ADAL" clId="{8B9CA085-EC09-48EF-8D00-44ADCE8CDE4E}" dt="2025-06-03T19:51:53.518" v="2812" actId="5793"/>
          <ac:spMkLst>
            <pc:docMk/>
            <pc:sldMk cId="3521687261" sldId="445"/>
            <ac:spMk id="15" creationId="{4EE7988D-07AE-D23F-713C-9C58E23A3A00}"/>
          </ac:spMkLst>
        </pc:spChg>
        <pc:spChg chg="mod">
          <ac:chgData name="Somani, Priyam" userId="fd9ca880-d0a6-4843-ba37-4bf7454632fe" providerId="ADAL" clId="{8B9CA085-EC09-48EF-8D00-44ADCE8CDE4E}" dt="2025-05-28T18:36:48.084" v="2746" actId="6549"/>
          <ac:spMkLst>
            <pc:docMk/>
            <pc:sldMk cId="3521687261" sldId="445"/>
            <ac:spMk id="20" creationId="{AD7B549E-E82A-293E-7084-2C3F2A492E6F}"/>
          </ac:spMkLst>
        </pc:spChg>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5T00:23:54.583" v="972" actId="20577"/>
              <pc2:cmMkLst xmlns:pc2="http://schemas.microsoft.com/office/powerpoint/2019/9/main/command">
                <pc:docMk/>
                <pc:sldMk cId="3521687261" sldId="445"/>
                <pc2:cmMk id="{961DC819-AB9D-4709-BCD8-0C40A9CD7947}"/>
              </pc2:cmMkLst>
            </pc226:cmChg>
            <pc226:cmChg xmlns:pc226="http://schemas.microsoft.com/office/powerpoint/2022/06/main/command" chg="mod">
              <pc226:chgData name="Somani, Priyam" userId="fd9ca880-d0a6-4843-ba37-4bf7454632fe" providerId="ADAL" clId="{8B9CA085-EC09-48EF-8D00-44ADCE8CDE4E}" dt="2025-05-28T18:36:48.084" v="2746" actId="6549"/>
              <pc2:cmMkLst xmlns:pc2="http://schemas.microsoft.com/office/powerpoint/2019/9/main/command">
                <pc:docMk/>
                <pc:sldMk cId="3521687261" sldId="445"/>
                <pc2:cmMk id="{806673F8-6F51-4094-BC73-5A7A0776B6EB}"/>
              </pc2:cmMkLst>
            </pc226:cmChg>
          </p:ext>
        </pc:extLst>
      </pc:sldChg>
      <pc:sldChg chg="modSp mod ord modCm">
        <pc:chgData name="Somani, Priyam" userId="fd9ca880-d0a6-4843-ba37-4bf7454632fe" providerId="ADAL" clId="{8B9CA085-EC09-48EF-8D00-44ADCE8CDE4E}" dt="2025-05-27T20:39:05.025" v="2163"/>
        <pc:sldMkLst>
          <pc:docMk/>
          <pc:sldMk cId="654132834" sldId="446"/>
        </pc:sldMkLst>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5T00:18:59.388" v="914" actId="20577"/>
              <pc2:cmMkLst xmlns:pc2="http://schemas.microsoft.com/office/powerpoint/2019/9/main/command">
                <pc:docMk/>
                <pc:sldMk cId="654132834" sldId="446"/>
                <pc2:cmMk id="{C62884A9-2852-4F02-9661-08498AFD5963}"/>
              </pc2:cmMkLst>
            </pc226:cmChg>
            <pc226:cmChg xmlns:pc226="http://schemas.microsoft.com/office/powerpoint/2022/06/main/command" chg="mod">
              <pc226:chgData name="Somani, Priyam" userId="fd9ca880-d0a6-4843-ba37-4bf7454632fe" providerId="ADAL" clId="{8B9CA085-EC09-48EF-8D00-44ADCE8CDE4E}" dt="2025-05-25T00:21:01.630" v="937" actId="20577"/>
              <pc2:cmMkLst xmlns:pc2="http://schemas.microsoft.com/office/powerpoint/2019/9/main/command">
                <pc:docMk/>
                <pc:sldMk cId="654132834" sldId="446"/>
                <pc2:cmMk id="{374D0EE1-67B5-4678-93F4-62349FF0FEE9}"/>
              </pc2:cmMkLst>
            </pc226:cmChg>
            <pc226:cmChg xmlns:pc226="http://schemas.microsoft.com/office/powerpoint/2022/06/main/command" chg="mod">
              <pc226:chgData name="Somani, Priyam" userId="fd9ca880-d0a6-4843-ba37-4bf7454632fe" providerId="ADAL" clId="{8B9CA085-EC09-48EF-8D00-44ADCE8CDE4E}" dt="2025-05-25T00:21:01.630" v="937" actId="20577"/>
              <pc2:cmMkLst xmlns:pc2="http://schemas.microsoft.com/office/powerpoint/2019/9/main/command">
                <pc:docMk/>
                <pc:sldMk cId="654132834" sldId="446"/>
                <pc2:cmMk id="{AC670BFC-08BB-4384-80A9-42E08D76855F}"/>
              </pc2:cmMkLst>
            </pc226:cmChg>
          </p:ext>
        </pc:extLst>
      </pc:sldChg>
      <pc:sldChg chg="addSp delSp modSp mod modCm">
        <pc:chgData name="Somani, Priyam" userId="fd9ca880-d0a6-4843-ba37-4bf7454632fe" providerId="ADAL" clId="{8B9CA085-EC09-48EF-8D00-44ADCE8CDE4E}" dt="2025-05-28T18:27:11.696" v="2709" actId="20577"/>
        <pc:sldMkLst>
          <pc:docMk/>
          <pc:sldMk cId="1798399341" sldId="447"/>
        </pc:sldMkLst>
        <pc:spChg chg="add mod">
          <ac:chgData name="Somani, Priyam" userId="fd9ca880-d0a6-4843-ba37-4bf7454632fe" providerId="ADAL" clId="{8B9CA085-EC09-48EF-8D00-44ADCE8CDE4E}" dt="2025-05-28T18:18:17.393" v="2338" actId="1076"/>
          <ac:spMkLst>
            <pc:docMk/>
            <pc:sldMk cId="1798399341" sldId="447"/>
            <ac:spMk id="5" creationId="{10571E6C-3C55-BCEB-3A03-378D95273961}"/>
          </ac:spMkLst>
        </pc:spChg>
        <pc:spChg chg="mod">
          <ac:chgData name="Somani, Priyam" userId="fd9ca880-d0a6-4843-ba37-4bf7454632fe" providerId="ADAL" clId="{8B9CA085-EC09-48EF-8D00-44ADCE8CDE4E}" dt="2025-05-26T02:47:21.234" v="1248" actId="1036"/>
          <ac:spMkLst>
            <pc:docMk/>
            <pc:sldMk cId="1798399341" sldId="447"/>
            <ac:spMk id="8" creationId="{C35144B2-17D6-2FBC-5119-3C3743951B0D}"/>
          </ac:spMkLst>
        </pc:spChg>
        <pc:spChg chg="mod">
          <ac:chgData name="Somani, Priyam" userId="fd9ca880-d0a6-4843-ba37-4bf7454632fe" providerId="ADAL" clId="{8B9CA085-EC09-48EF-8D00-44ADCE8CDE4E}" dt="2025-05-25T00:11:31.911" v="871" actId="20577"/>
          <ac:spMkLst>
            <pc:docMk/>
            <pc:sldMk cId="1798399341" sldId="447"/>
            <ac:spMk id="12" creationId="{61FEFFFD-B4A4-FB2D-5530-89CFDAC3D3E5}"/>
          </ac:spMkLst>
        </pc:spChg>
        <pc:spChg chg="mod">
          <ac:chgData name="Somani, Priyam" userId="fd9ca880-d0a6-4843-ba37-4bf7454632fe" providerId="ADAL" clId="{8B9CA085-EC09-48EF-8D00-44ADCE8CDE4E}" dt="2025-05-28T18:27:11.696" v="2709" actId="20577"/>
          <ac:spMkLst>
            <pc:docMk/>
            <pc:sldMk cId="1798399341" sldId="447"/>
            <ac:spMk id="16" creationId="{747627A9-0169-CF93-6D41-F6760A06390A}"/>
          </ac:spMkLst>
        </pc:spChg>
        <pc:spChg chg="mod">
          <ac:chgData name="Somani, Priyam" userId="fd9ca880-d0a6-4843-ba37-4bf7454632fe" providerId="ADAL" clId="{8B9CA085-EC09-48EF-8D00-44ADCE8CDE4E}" dt="2025-05-28T18:19:09.714" v="2340" actId="14100"/>
          <ac:spMkLst>
            <pc:docMk/>
            <pc:sldMk cId="1798399341" sldId="447"/>
            <ac:spMk id="17" creationId="{EEB0D8B1-C5BB-8FE6-7843-3E4C195EB112}"/>
          </ac:spMkLst>
        </pc:spChg>
        <pc:picChg chg="add mod">
          <ac:chgData name="Somani, Priyam" userId="fd9ca880-d0a6-4843-ba37-4bf7454632fe" providerId="ADAL" clId="{8B9CA085-EC09-48EF-8D00-44ADCE8CDE4E}" dt="2025-05-26T02:46:11.496" v="1240" actId="14100"/>
          <ac:picMkLst>
            <pc:docMk/>
            <pc:sldMk cId="1798399341" sldId="447"/>
            <ac:picMk id="4" creationId="{F374E817-663C-7B2E-6C2A-A624AF949E4E}"/>
          </ac:picMkLst>
        </pc:picChg>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5T00:13:53.275" v="874"/>
              <pc2:cmMkLst xmlns:pc2="http://schemas.microsoft.com/office/powerpoint/2019/9/main/command">
                <pc:docMk/>
                <pc:sldMk cId="1798399341" sldId="447"/>
                <pc2:cmMk id="{DDD65A7F-82F5-4EE4-9CAE-4CABBC6A1298}"/>
              </pc2:cmMkLst>
            </pc226:cmChg>
            <pc226:cmChg xmlns:pc226="http://schemas.microsoft.com/office/powerpoint/2022/06/main/command" chg="mod">
              <pc226:chgData name="Somani, Priyam" userId="fd9ca880-d0a6-4843-ba37-4bf7454632fe" providerId="ADAL" clId="{8B9CA085-EC09-48EF-8D00-44ADCE8CDE4E}" dt="2025-05-25T00:11:31.911" v="871" actId="20577"/>
              <pc2:cmMkLst xmlns:pc2="http://schemas.microsoft.com/office/powerpoint/2019/9/main/command">
                <pc:docMk/>
                <pc:sldMk cId="1798399341" sldId="447"/>
                <pc2:cmMk id="{CD79A4E5-065D-4BF8-BF91-CF7624BAAB40}"/>
              </pc2:cmMkLst>
            </pc226:cmChg>
          </p:ext>
        </pc:extLst>
      </pc:sldChg>
      <pc:sldChg chg="modSp del mod">
        <pc:chgData name="Somani, Priyam" userId="fd9ca880-d0a6-4843-ba37-4bf7454632fe" providerId="ADAL" clId="{8B9CA085-EC09-48EF-8D00-44ADCE8CDE4E}" dt="2025-05-22T17:21:22.850" v="34" actId="47"/>
        <pc:sldMkLst>
          <pc:docMk/>
          <pc:sldMk cId="4181580604" sldId="448"/>
        </pc:sldMkLst>
      </pc:sldChg>
      <pc:sldChg chg="modSp modAnim">
        <pc:chgData name="Somani, Priyam" userId="fd9ca880-d0a6-4843-ba37-4bf7454632fe" providerId="ADAL" clId="{8B9CA085-EC09-48EF-8D00-44ADCE8CDE4E}" dt="2025-06-03T19:50:42.043" v="2792" actId="20577"/>
        <pc:sldMkLst>
          <pc:docMk/>
          <pc:sldMk cId="3880380257" sldId="451"/>
        </pc:sldMkLst>
        <pc:spChg chg="mod">
          <ac:chgData name="Somani, Priyam" userId="fd9ca880-d0a6-4843-ba37-4bf7454632fe" providerId="ADAL" clId="{8B9CA085-EC09-48EF-8D00-44ADCE8CDE4E}" dt="2025-06-03T19:50:12.282" v="2786" actId="20577"/>
          <ac:spMkLst>
            <pc:docMk/>
            <pc:sldMk cId="3880380257" sldId="451"/>
            <ac:spMk id="4" creationId="{4A4A2A84-490D-5498-E255-64D3B7AB4C56}"/>
          </ac:spMkLst>
        </pc:spChg>
        <pc:spChg chg="mod">
          <ac:chgData name="Somani, Priyam" userId="fd9ca880-d0a6-4843-ba37-4bf7454632fe" providerId="ADAL" clId="{8B9CA085-EC09-48EF-8D00-44ADCE8CDE4E}" dt="2025-06-03T19:50:42.043" v="2792" actId="20577"/>
          <ac:spMkLst>
            <pc:docMk/>
            <pc:sldMk cId="3880380257" sldId="451"/>
            <ac:spMk id="5" creationId="{A39C5115-470F-265F-68A5-2CA0FE9340E5}"/>
          </ac:spMkLst>
        </pc:spChg>
      </pc:sldChg>
      <pc:sldChg chg="addSp delSp modSp mod modAnim">
        <pc:chgData name="Somani, Priyam" userId="fd9ca880-d0a6-4843-ba37-4bf7454632fe" providerId="ADAL" clId="{8B9CA085-EC09-48EF-8D00-44ADCE8CDE4E}" dt="2025-05-27T05:25:13.792" v="1344" actId="20577"/>
        <pc:sldMkLst>
          <pc:docMk/>
          <pc:sldMk cId="3625720286" sldId="454"/>
        </pc:sldMkLst>
        <pc:graphicFrameChg chg="add mod modGraphic">
          <ac:chgData name="Somani, Priyam" userId="fd9ca880-d0a6-4843-ba37-4bf7454632fe" providerId="ADAL" clId="{8B9CA085-EC09-48EF-8D00-44ADCE8CDE4E}" dt="2025-05-27T05:25:13.792" v="1344" actId="20577"/>
          <ac:graphicFrameMkLst>
            <pc:docMk/>
            <pc:sldMk cId="3625720286" sldId="454"/>
            <ac:graphicFrameMk id="6" creationId="{53A82C1B-CEBF-CC67-CBA2-9FC777AFA391}"/>
          </ac:graphicFrameMkLst>
        </pc:graphicFrameChg>
        <pc:graphicFrameChg chg="mod modGraphic">
          <ac:chgData name="Somani, Priyam" userId="fd9ca880-d0a6-4843-ba37-4bf7454632fe" providerId="ADAL" clId="{8B9CA085-EC09-48EF-8D00-44ADCE8CDE4E}" dt="2025-05-27T05:24:50.926" v="1328" actId="1076"/>
          <ac:graphicFrameMkLst>
            <pc:docMk/>
            <pc:sldMk cId="3625720286" sldId="454"/>
            <ac:graphicFrameMk id="15" creationId="{79FC1FCC-26C0-A792-7F28-A3C37567C6C6}"/>
          </ac:graphicFrameMkLst>
        </pc:graphicFrameChg>
      </pc:sldChg>
      <pc:sldChg chg="addSp delSp modSp mod ord modNotesTx">
        <pc:chgData name="Somani, Priyam" userId="fd9ca880-d0a6-4843-ba37-4bf7454632fe" providerId="ADAL" clId="{8B9CA085-EC09-48EF-8D00-44ADCE8CDE4E}" dt="2025-06-03T21:05:02.981" v="3068" actId="207"/>
        <pc:sldMkLst>
          <pc:docMk/>
          <pc:sldMk cId="3006985642" sldId="455"/>
        </pc:sldMkLst>
        <pc:spChg chg="mod">
          <ac:chgData name="Somani, Priyam" userId="fd9ca880-d0a6-4843-ba37-4bf7454632fe" providerId="ADAL" clId="{8B9CA085-EC09-48EF-8D00-44ADCE8CDE4E}" dt="2025-06-03T21:05:02.981" v="3068" actId="207"/>
          <ac:spMkLst>
            <pc:docMk/>
            <pc:sldMk cId="3006985642" sldId="455"/>
            <ac:spMk id="9" creationId="{A6881015-1EBF-AAC3-85E0-DB9C7039CDCB}"/>
          </ac:spMkLst>
        </pc:spChg>
        <pc:picChg chg="add del">
          <ac:chgData name="Somani, Priyam" userId="fd9ca880-d0a6-4843-ba37-4bf7454632fe" providerId="ADAL" clId="{8B9CA085-EC09-48EF-8D00-44ADCE8CDE4E}" dt="2025-06-03T20:56:32.197" v="2971" actId="478"/>
          <ac:picMkLst>
            <pc:docMk/>
            <pc:sldMk cId="3006985642" sldId="455"/>
            <ac:picMk id="4" creationId="{B1FD95CD-13BE-AC13-2604-3FDB30CFB87D}"/>
          </ac:picMkLst>
        </pc:picChg>
      </pc:sldChg>
      <pc:sldChg chg="ord">
        <pc:chgData name="Somani, Priyam" userId="fd9ca880-d0a6-4843-ba37-4bf7454632fe" providerId="ADAL" clId="{8B9CA085-EC09-48EF-8D00-44ADCE8CDE4E}" dt="2025-05-27T09:00:57.383" v="1742"/>
        <pc:sldMkLst>
          <pc:docMk/>
          <pc:sldMk cId="2013380474" sldId="456"/>
        </pc:sldMkLst>
      </pc:sldChg>
      <pc:sldChg chg="modSp mod ord modCm">
        <pc:chgData name="Somani, Priyam" userId="fd9ca880-d0a6-4843-ba37-4bf7454632fe" providerId="ADAL" clId="{8B9CA085-EC09-48EF-8D00-44ADCE8CDE4E}" dt="2025-05-27T09:00:42.420" v="1738"/>
        <pc:sldMkLst>
          <pc:docMk/>
          <pc:sldMk cId="197560797" sldId="457"/>
        </pc:sldMkLst>
        <pc:graphicFrameChg chg="mod modGraphic">
          <ac:chgData name="Somani, Priyam" userId="fd9ca880-d0a6-4843-ba37-4bf7454632fe" providerId="ADAL" clId="{8B9CA085-EC09-48EF-8D00-44ADCE8CDE4E}" dt="2025-05-25T00:16:19.388" v="892" actId="313"/>
          <ac:graphicFrameMkLst>
            <pc:docMk/>
            <pc:sldMk cId="197560797" sldId="457"/>
            <ac:graphicFrameMk id="9" creationId="{5D934A52-665E-08E1-CD39-9A8C877220AD}"/>
          </ac:graphicFrameMkLst>
        </pc:graphicFrameChg>
        <pc:extLst>
          <p:ext xmlns:p="http://schemas.openxmlformats.org/presentationml/2006/main" uri="{D6D511B9-2390-475A-947B-AFAB55BFBCF1}">
            <pc226:cmChg xmlns:pc226="http://schemas.microsoft.com/office/powerpoint/2022/06/main/command" chg="mod">
              <pc226:chgData name="Somani, Priyam" userId="fd9ca880-d0a6-4843-ba37-4bf7454632fe" providerId="ADAL" clId="{8B9CA085-EC09-48EF-8D00-44ADCE8CDE4E}" dt="2025-05-25T00:16:19.388" v="892" actId="313"/>
              <pc2:cmMkLst xmlns:pc2="http://schemas.microsoft.com/office/powerpoint/2019/9/main/command">
                <pc:docMk/>
                <pc:sldMk cId="197560797" sldId="457"/>
                <pc2:cmMk id="{43848F93-A742-4735-A357-A62896034DF0}"/>
              </pc2:cmMkLst>
            </pc226:cmChg>
          </p:ext>
        </pc:extLst>
      </pc:sldChg>
      <pc:sldChg chg="addSp delSp modSp mod">
        <pc:chgData name="Somani, Priyam" userId="fd9ca880-d0a6-4843-ba37-4bf7454632fe" providerId="ADAL" clId="{8B9CA085-EC09-48EF-8D00-44ADCE8CDE4E}" dt="2025-05-22T17:44:59.955" v="386" actId="1076"/>
        <pc:sldMkLst>
          <pc:docMk/>
          <pc:sldMk cId="3254969896" sldId="458"/>
        </pc:sldMkLst>
      </pc:sldChg>
      <pc:sldChg chg="addSp delSp modSp mod ord">
        <pc:chgData name="Somani, Priyam" userId="fd9ca880-d0a6-4843-ba37-4bf7454632fe" providerId="ADAL" clId="{8B9CA085-EC09-48EF-8D00-44ADCE8CDE4E}" dt="2025-05-27T09:12:44.731" v="2084"/>
        <pc:sldMkLst>
          <pc:docMk/>
          <pc:sldMk cId="2543669901" sldId="459"/>
        </pc:sldMkLst>
        <pc:spChg chg="add mod">
          <ac:chgData name="Somani, Priyam" userId="fd9ca880-d0a6-4843-ba37-4bf7454632fe" providerId="ADAL" clId="{8B9CA085-EC09-48EF-8D00-44ADCE8CDE4E}" dt="2025-05-27T09:00:20.248" v="1734"/>
          <ac:spMkLst>
            <pc:docMk/>
            <pc:sldMk cId="2543669901" sldId="459"/>
            <ac:spMk id="4" creationId="{87EB59CC-1EE4-6E07-3A46-5470ADBDA1E9}"/>
          </ac:spMkLst>
        </pc:spChg>
        <pc:picChg chg="add mod">
          <ac:chgData name="Somani, Priyam" userId="fd9ca880-d0a6-4843-ba37-4bf7454632fe" providerId="ADAL" clId="{8B9CA085-EC09-48EF-8D00-44ADCE8CDE4E}" dt="2025-05-27T09:00:20.248" v="1734"/>
          <ac:picMkLst>
            <pc:docMk/>
            <pc:sldMk cId="2543669901" sldId="459"/>
            <ac:picMk id="3" creationId="{8DF0CDE8-C543-D2DF-EE26-F07B749D3B74}"/>
          </ac:picMkLst>
        </pc:picChg>
      </pc:sldChg>
      <pc:sldChg chg="modSp del mod">
        <pc:chgData name="Somani, Priyam" userId="fd9ca880-d0a6-4843-ba37-4bf7454632fe" providerId="ADAL" clId="{8B9CA085-EC09-48EF-8D00-44ADCE8CDE4E}" dt="2025-05-22T17:31:44.737" v="123" actId="47"/>
        <pc:sldMkLst>
          <pc:docMk/>
          <pc:sldMk cId="38267672" sldId="460"/>
        </pc:sldMkLst>
      </pc:sldChg>
      <pc:sldChg chg="addSp delSp modSp mod modAnim">
        <pc:chgData name="Somani, Priyam" userId="fd9ca880-d0a6-4843-ba37-4bf7454632fe" providerId="ADAL" clId="{8B9CA085-EC09-48EF-8D00-44ADCE8CDE4E}" dt="2025-05-28T17:57:14.604" v="2264" actId="478"/>
        <pc:sldMkLst>
          <pc:docMk/>
          <pc:sldMk cId="3428846195" sldId="462"/>
        </pc:sldMkLst>
        <pc:spChg chg="mod">
          <ac:chgData name="Somani, Priyam" userId="fd9ca880-d0a6-4843-ba37-4bf7454632fe" providerId="ADAL" clId="{8B9CA085-EC09-48EF-8D00-44ADCE8CDE4E}" dt="2025-05-24T23:23:13.271" v="419"/>
          <ac:spMkLst>
            <pc:docMk/>
            <pc:sldMk cId="3428846195" sldId="462"/>
            <ac:spMk id="8" creationId="{71C5C00E-8D6A-55F1-17C2-84A2F798B9B9}"/>
          </ac:spMkLst>
        </pc:spChg>
        <pc:spChg chg="mod">
          <ac:chgData name="Somani, Priyam" userId="fd9ca880-d0a6-4843-ba37-4bf7454632fe" providerId="ADAL" clId="{8B9CA085-EC09-48EF-8D00-44ADCE8CDE4E}" dt="2025-05-24T23:24:25.058" v="428" actId="20577"/>
          <ac:spMkLst>
            <pc:docMk/>
            <pc:sldMk cId="3428846195" sldId="462"/>
            <ac:spMk id="10" creationId="{CD813D0D-507A-0AAB-1132-248A5844FA57}"/>
          </ac:spMkLst>
        </pc:spChg>
      </pc:sldChg>
      <pc:sldChg chg="addSp delSp modSp add mod ord">
        <pc:chgData name="Somani, Priyam" userId="fd9ca880-d0a6-4843-ba37-4bf7454632fe" providerId="ADAL" clId="{8B9CA085-EC09-48EF-8D00-44ADCE8CDE4E}" dt="2025-05-27T09:13:52.304" v="2091" actId="1076"/>
        <pc:sldMkLst>
          <pc:docMk/>
          <pc:sldMk cId="1700624718" sldId="464"/>
        </pc:sldMkLst>
      </pc:sldChg>
      <pc:sldChg chg="addSp delSp modSp add mod ord">
        <pc:chgData name="Somani, Priyam" userId="fd9ca880-d0a6-4843-ba37-4bf7454632fe" providerId="ADAL" clId="{8B9CA085-EC09-48EF-8D00-44ADCE8CDE4E}" dt="2025-05-27T09:12:36.728" v="2082"/>
        <pc:sldMkLst>
          <pc:docMk/>
          <pc:sldMk cId="3355028918" sldId="465"/>
        </pc:sldMkLst>
        <pc:spChg chg="mod">
          <ac:chgData name="Somani, Priyam" userId="fd9ca880-d0a6-4843-ba37-4bf7454632fe" providerId="ADAL" clId="{8B9CA085-EC09-48EF-8D00-44ADCE8CDE4E}" dt="2025-05-22T17:26:39.924" v="96" actId="20577"/>
          <ac:spMkLst>
            <pc:docMk/>
            <pc:sldMk cId="3355028918" sldId="465"/>
            <ac:spMk id="2" creationId="{64D9C46E-F4CB-704A-E055-9F23131D8429}"/>
          </ac:spMkLst>
        </pc:spChg>
        <pc:spChg chg="mod">
          <ac:chgData name="Somani, Priyam" userId="fd9ca880-d0a6-4843-ba37-4bf7454632fe" providerId="ADAL" clId="{8B9CA085-EC09-48EF-8D00-44ADCE8CDE4E}" dt="2025-05-27T09:12:19.268" v="2078" actId="20577"/>
          <ac:spMkLst>
            <pc:docMk/>
            <pc:sldMk cId="3355028918" sldId="465"/>
            <ac:spMk id="3" creationId="{A29D2098-315F-0DEB-ED53-71B67101A661}"/>
          </ac:spMkLst>
        </pc:spChg>
        <pc:spChg chg="add mod">
          <ac:chgData name="Somani, Priyam" userId="fd9ca880-d0a6-4843-ba37-4bf7454632fe" providerId="ADAL" clId="{8B9CA085-EC09-48EF-8D00-44ADCE8CDE4E}" dt="2025-05-27T09:00:33.223" v="1736"/>
          <ac:spMkLst>
            <pc:docMk/>
            <pc:sldMk cId="3355028918" sldId="465"/>
            <ac:spMk id="6" creationId="{4FB3B910-96DA-4DE5-991E-086A14AA6A80}"/>
          </ac:spMkLst>
        </pc:spChg>
        <pc:picChg chg="add mod">
          <ac:chgData name="Somani, Priyam" userId="fd9ca880-d0a6-4843-ba37-4bf7454632fe" providerId="ADAL" clId="{8B9CA085-EC09-48EF-8D00-44ADCE8CDE4E}" dt="2025-05-27T09:00:33.223" v="1736"/>
          <ac:picMkLst>
            <pc:docMk/>
            <pc:sldMk cId="3355028918" sldId="465"/>
            <ac:picMk id="4" creationId="{F3892E13-C571-A4F7-F9EB-EB7461C7C113}"/>
          </ac:picMkLst>
        </pc:picChg>
      </pc:sldChg>
      <pc:sldChg chg="addSp delSp modSp add mod ord">
        <pc:chgData name="Somani, Priyam" userId="fd9ca880-d0a6-4843-ba37-4bf7454632fe" providerId="ADAL" clId="{8B9CA085-EC09-48EF-8D00-44ADCE8CDE4E}" dt="2025-05-22T17:32:15.726" v="145" actId="1076"/>
        <pc:sldMkLst>
          <pc:docMk/>
          <pc:sldMk cId="2017668696" sldId="466"/>
        </pc:sldMkLst>
      </pc:sldChg>
      <pc:sldChg chg="add del">
        <pc:chgData name="Somani, Priyam" userId="fd9ca880-d0a6-4843-ba37-4bf7454632fe" providerId="ADAL" clId="{8B9CA085-EC09-48EF-8D00-44ADCE8CDE4E}" dt="2025-05-22T17:26:48.304" v="100"/>
        <pc:sldMkLst>
          <pc:docMk/>
          <pc:sldMk cId="4109032694" sldId="466"/>
        </pc:sldMkLst>
      </pc:sldChg>
      <pc:sldChg chg="modSp mod">
        <pc:chgData name="Somani, Priyam" userId="fd9ca880-d0a6-4843-ba37-4bf7454632fe" providerId="ADAL" clId="{8B9CA085-EC09-48EF-8D00-44ADCE8CDE4E}" dt="2025-05-24T23:26:17.267" v="430" actId="1076"/>
        <pc:sldMkLst>
          <pc:docMk/>
          <pc:sldMk cId="713803412" sldId="468"/>
        </pc:sldMkLst>
        <pc:spChg chg="mod">
          <ac:chgData name="Somani, Priyam" userId="fd9ca880-d0a6-4843-ba37-4bf7454632fe" providerId="ADAL" clId="{8B9CA085-EC09-48EF-8D00-44ADCE8CDE4E}" dt="2025-05-24T23:26:17.267" v="430" actId="1076"/>
          <ac:spMkLst>
            <pc:docMk/>
            <pc:sldMk cId="713803412" sldId="468"/>
            <ac:spMk id="21" creationId="{47E7F4EA-48B7-9E65-9DEF-EF1E2AD1E806}"/>
          </ac:spMkLst>
        </pc:spChg>
      </pc:sldChg>
      <pc:sldChg chg="modSp mod">
        <pc:chgData name="Somani, Priyam" userId="fd9ca880-d0a6-4843-ba37-4bf7454632fe" providerId="ADAL" clId="{8B9CA085-EC09-48EF-8D00-44ADCE8CDE4E}" dt="2025-05-27T20:02:07.011" v="2103" actId="20577"/>
        <pc:sldMkLst>
          <pc:docMk/>
          <pc:sldMk cId="144562284" sldId="469"/>
        </pc:sldMkLst>
        <pc:spChg chg="mod">
          <ac:chgData name="Somani, Priyam" userId="fd9ca880-d0a6-4843-ba37-4bf7454632fe" providerId="ADAL" clId="{8B9CA085-EC09-48EF-8D00-44ADCE8CDE4E}" dt="2025-05-27T20:02:07.011" v="2103" actId="20577"/>
          <ac:spMkLst>
            <pc:docMk/>
            <pc:sldMk cId="144562284" sldId="469"/>
            <ac:spMk id="8" creationId="{6A31A84B-1836-0151-C691-BB57B285BF6E}"/>
          </ac:spMkLst>
        </pc:spChg>
        <pc:spChg chg="mod">
          <ac:chgData name="Somani, Priyam" userId="fd9ca880-d0a6-4843-ba37-4bf7454632fe" providerId="ADAL" clId="{8B9CA085-EC09-48EF-8D00-44ADCE8CDE4E}" dt="2025-05-24T23:37:01.225" v="615" actId="20577"/>
          <ac:spMkLst>
            <pc:docMk/>
            <pc:sldMk cId="144562284" sldId="469"/>
            <ac:spMk id="19" creationId="{6D906074-CA93-0593-A2C0-282664A6F53C}"/>
          </ac:spMkLst>
        </pc:spChg>
        <pc:spChg chg="mod">
          <ac:chgData name="Somani, Priyam" userId="fd9ca880-d0a6-4843-ba37-4bf7454632fe" providerId="ADAL" clId="{8B9CA085-EC09-48EF-8D00-44ADCE8CDE4E}" dt="2025-05-24T23:26:38.649" v="432" actId="1076"/>
          <ac:spMkLst>
            <pc:docMk/>
            <pc:sldMk cId="144562284" sldId="469"/>
            <ac:spMk id="62" creationId="{951F2255-6125-EA93-F3B4-74A6F6065C39}"/>
          </ac:spMkLst>
        </pc:spChg>
      </pc:sldChg>
      <pc:sldChg chg="addSp delSp modSp new del mod">
        <pc:chgData name="Somani, Priyam" userId="fd9ca880-d0a6-4843-ba37-4bf7454632fe" providerId="ADAL" clId="{8B9CA085-EC09-48EF-8D00-44ADCE8CDE4E}" dt="2025-06-03T19:56:45.857" v="2924" actId="47"/>
        <pc:sldMkLst>
          <pc:docMk/>
          <pc:sldMk cId="747289679" sldId="474"/>
        </pc:sldMkLst>
      </pc:sldChg>
      <pc:sldChg chg="addSp delSp modSp new mod ord modNotesTx">
        <pc:chgData name="Somani, Priyam" userId="fd9ca880-d0a6-4843-ba37-4bf7454632fe" providerId="ADAL" clId="{8B9CA085-EC09-48EF-8D00-44ADCE8CDE4E}" dt="2025-05-27T09:02:45.496" v="1905" actId="122"/>
        <pc:sldMkLst>
          <pc:docMk/>
          <pc:sldMk cId="3426816600" sldId="475"/>
        </pc:sldMkLst>
        <pc:spChg chg="mod">
          <ac:chgData name="Somani, Priyam" userId="fd9ca880-d0a6-4843-ba37-4bf7454632fe" providerId="ADAL" clId="{8B9CA085-EC09-48EF-8D00-44ADCE8CDE4E}" dt="2025-05-27T08:54:56.727" v="1670" actId="1076"/>
          <ac:spMkLst>
            <pc:docMk/>
            <pc:sldMk cId="3426816600" sldId="475"/>
            <ac:spMk id="2" creationId="{0A73DACA-94C6-2835-2A74-1598703991DC}"/>
          </ac:spMkLst>
        </pc:spChg>
        <pc:spChg chg="add mod">
          <ac:chgData name="Somani, Priyam" userId="fd9ca880-d0a6-4843-ba37-4bf7454632fe" providerId="ADAL" clId="{8B9CA085-EC09-48EF-8D00-44ADCE8CDE4E}" dt="2025-05-27T09:02:45.496" v="1905" actId="122"/>
          <ac:spMkLst>
            <pc:docMk/>
            <pc:sldMk cId="3426816600" sldId="475"/>
            <ac:spMk id="5" creationId="{E112228C-E610-8BC5-1581-F3E9F655B361}"/>
          </ac:spMkLst>
        </pc:spChg>
        <pc:spChg chg="add mod">
          <ac:chgData name="Somani, Priyam" userId="fd9ca880-d0a6-4843-ba37-4bf7454632fe" providerId="ADAL" clId="{8B9CA085-EC09-48EF-8D00-44ADCE8CDE4E}" dt="2025-05-27T09:01:03.386" v="1743"/>
          <ac:spMkLst>
            <pc:docMk/>
            <pc:sldMk cId="3426816600" sldId="475"/>
            <ac:spMk id="7" creationId="{1411C296-4247-A0BD-4ED5-BD09891E616C}"/>
          </ac:spMkLst>
        </pc:spChg>
        <pc:spChg chg="add mod">
          <ac:chgData name="Somani, Priyam" userId="fd9ca880-d0a6-4843-ba37-4bf7454632fe" providerId="ADAL" clId="{8B9CA085-EC09-48EF-8D00-44ADCE8CDE4E}" dt="2025-05-27T09:02:31.952" v="1904" actId="12"/>
          <ac:spMkLst>
            <pc:docMk/>
            <pc:sldMk cId="3426816600" sldId="475"/>
            <ac:spMk id="8" creationId="{204D675B-843C-1BF2-E896-91B3DB79450B}"/>
          </ac:spMkLst>
        </pc:spChg>
        <pc:graphicFrameChg chg="add mod modGraphic">
          <ac:chgData name="Somani, Priyam" userId="fd9ca880-d0a6-4843-ba37-4bf7454632fe" providerId="ADAL" clId="{8B9CA085-EC09-48EF-8D00-44ADCE8CDE4E}" dt="2025-05-27T09:01:49.683" v="1890" actId="1076"/>
          <ac:graphicFrameMkLst>
            <pc:docMk/>
            <pc:sldMk cId="3426816600" sldId="475"/>
            <ac:graphicFrameMk id="4" creationId="{6C2D9A11-610C-E31B-0A4E-1CAE723A8CBE}"/>
          </ac:graphicFrameMkLst>
        </pc:graphicFrameChg>
        <pc:picChg chg="add mod">
          <ac:chgData name="Somani, Priyam" userId="fd9ca880-d0a6-4843-ba37-4bf7454632fe" providerId="ADAL" clId="{8B9CA085-EC09-48EF-8D00-44ADCE8CDE4E}" dt="2025-05-27T09:01:03.386" v="1743"/>
          <ac:picMkLst>
            <pc:docMk/>
            <pc:sldMk cId="3426816600" sldId="475"/>
            <ac:picMk id="6" creationId="{2DBE61EC-EB41-0545-00F2-AC24DC69A667}"/>
          </ac:picMkLst>
        </pc:picChg>
      </pc:sldChg>
      <pc:sldChg chg="modSp mod">
        <pc:chgData name="Somani, Priyam" userId="fd9ca880-d0a6-4843-ba37-4bf7454632fe" providerId="ADAL" clId="{8B9CA085-EC09-48EF-8D00-44ADCE8CDE4E}" dt="2025-05-28T17:02:05.540" v="2260" actId="20577"/>
        <pc:sldMkLst>
          <pc:docMk/>
          <pc:sldMk cId="2203974627" sldId="476"/>
        </pc:sldMkLst>
        <pc:spChg chg="mod">
          <ac:chgData name="Somani, Priyam" userId="fd9ca880-d0a6-4843-ba37-4bf7454632fe" providerId="ADAL" clId="{8B9CA085-EC09-48EF-8D00-44ADCE8CDE4E}" dt="2025-05-28T17:02:05.540" v="2260" actId="20577"/>
          <ac:spMkLst>
            <pc:docMk/>
            <pc:sldMk cId="2203974627" sldId="476"/>
            <ac:spMk id="2" creationId="{1AAF1234-3BB4-8632-04CC-187E7808680E}"/>
          </ac:spMkLst>
        </pc:spChg>
      </pc:sldChg>
      <pc:sldChg chg="addSp delSp modSp add mod ord">
        <pc:chgData name="Somani, Priyam" userId="fd9ca880-d0a6-4843-ba37-4bf7454632fe" providerId="ADAL" clId="{8B9CA085-EC09-48EF-8D00-44ADCE8CDE4E}" dt="2025-06-03T20:09:34.431" v="2969" actId="20577"/>
        <pc:sldMkLst>
          <pc:docMk/>
          <pc:sldMk cId="3771133458" sldId="480"/>
        </pc:sldMkLst>
        <pc:spChg chg="mod">
          <ac:chgData name="Somani, Priyam" userId="fd9ca880-d0a6-4843-ba37-4bf7454632fe" providerId="ADAL" clId="{8B9CA085-EC09-48EF-8D00-44ADCE8CDE4E}" dt="2025-06-03T19:54:43.488" v="2849" actId="14100"/>
          <ac:spMkLst>
            <pc:docMk/>
            <pc:sldMk cId="3771133458" sldId="480"/>
            <ac:spMk id="2" creationId="{29E5F9E2-5977-0F39-2B43-1BCE014CF620}"/>
          </ac:spMkLst>
        </pc:spChg>
        <pc:spChg chg="add del mod">
          <ac:chgData name="Somani, Priyam" userId="fd9ca880-d0a6-4843-ba37-4bf7454632fe" providerId="ADAL" clId="{8B9CA085-EC09-48EF-8D00-44ADCE8CDE4E}" dt="2025-06-03T19:48:27.886" v="2756"/>
          <ac:spMkLst>
            <pc:docMk/>
            <pc:sldMk cId="3771133458" sldId="480"/>
            <ac:spMk id="3" creationId="{5D7D30E9-87C4-9A95-9E99-00D76E2DFDBE}"/>
          </ac:spMkLst>
        </pc:spChg>
        <pc:spChg chg="del">
          <ac:chgData name="Somani, Priyam" userId="fd9ca880-d0a6-4843-ba37-4bf7454632fe" providerId="ADAL" clId="{8B9CA085-EC09-48EF-8D00-44ADCE8CDE4E}" dt="2025-06-03T19:49:38.884" v="2776" actId="478"/>
          <ac:spMkLst>
            <pc:docMk/>
            <pc:sldMk cId="3771133458" sldId="480"/>
            <ac:spMk id="5" creationId="{D38D1534-45C3-B4EC-BEC4-EC641AC3675D}"/>
          </ac:spMkLst>
        </pc:spChg>
        <pc:spChg chg="add mod">
          <ac:chgData name="Somani, Priyam" userId="fd9ca880-d0a6-4843-ba37-4bf7454632fe" providerId="ADAL" clId="{8B9CA085-EC09-48EF-8D00-44ADCE8CDE4E}" dt="2025-06-03T19:49:04.975" v="2770"/>
          <ac:spMkLst>
            <pc:docMk/>
            <pc:sldMk cId="3771133458" sldId="480"/>
            <ac:spMk id="6" creationId="{0FCC8061-F3E7-041F-B39A-DF1033B539D1}"/>
          </ac:spMkLst>
        </pc:spChg>
        <pc:spChg chg="add mod">
          <ac:chgData name="Somani, Priyam" userId="fd9ca880-d0a6-4843-ba37-4bf7454632fe" providerId="ADAL" clId="{8B9CA085-EC09-48EF-8D00-44ADCE8CDE4E}" dt="2025-06-03T20:09:34.431" v="2969" actId="20577"/>
          <ac:spMkLst>
            <pc:docMk/>
            <pc:sldMk cId="3771133458" sldId="480"/>
            <ac:spMk id="7" creationId="{E19E3188-5F4A-9748-13B7-170229A1BEF3}"/>
          </ac:spMkLst>
        </pc:spChg>
        <pc:spChg chg="add del mod">
          <ac:chgData name="Somani, Priyam" userId="fd9ca880-d0a6-4843-ba37-4bf7454632fe" providerId="ADAL" clId="{8B9CA085-EC09-48EF-8D00-44ADCE8CDE4E}" dt="2025-06-03T20:00:54.142" v="2962"/>
          <ac:spMkLst>
            <pc:docMk/>
            <pc:sldMk cId="3771133458" sldId="480"/>
            <ac:spMk id="8" creationId="{672FB714-B901-257E-AAF7-DD3047DA031E}"/>
          </ac:spMkLst>
        </pc:spChg>
        <pc:spChg chg="del">
          <ac:chgData name="Somani, Priyam" userId="fd9ca880-d0a6-4843-ba37-4bf7454632fe" providerId="ADAL" clId="{8B9CA085-EC09-48EF-8D00-44ADCE8CDE4E}" dt="2025-06-03T19:48:13.755" v="2751" actId="478"/>
          <ac:spMkLst>
            <pc:docMk/>
            <pc:sldMk cId="3771133458" sldId="480"/>
            <ac:spMk id="15" creationId="{7940A7EA-D3C0-92EB-E7F2-3976BF553C77}"/>
          </ac:spMkLst>
        </pc:spChg>
        <pc:spChg chg="del mod">
          <ac:chgData name="Somani, Priyam" userId="fd9ca880-d0a6-4843-ba37-4bf7454632fe" providerId="ADAL" clId="{8B9CA085-EC09-48EF-8D00-44ADCE8CDE4E}" dt="2025-06-03T19:48:35.248" v="2760" actId="478"/>
          <ac:spMkLst>
            <pc:docMk/>
            <pc:sldMk cId="3771133458" sldId="480"/>
            <ac:spMk id="18" creationId="{104FCE34-1700-5612-A658-80E27189E8B2}"/>
          </ac:spMkLst>
        </pc:spChg>
        <pc:picChg chg="add mod">
          <ac:chgData name="Somani, Priyam" userId="fd9ca880-d0a6-4843-ba37-4bf7454632fe" providerId="ADAL" clId="{8B9CA085-EC09-48EF-8D00-44ADCE8CDE4E}" dt="2025-06-03T19:48:33.188" v="2758"/>
          <ac:picMkLst>
            <pc:docMk/>
            <pc:sldMk cId="3771133458" sldId="480"/>
            <ac:picMk id="4" creationId="{BB6B9842-2F5B-4772-2D59-C427B4C9BA7E}"/>
          </ac:picMkLst>
        </pc:picChg>
        <pc:picChg chg="del">
          <ac:chgData name="Somani, Priyam" userId="fd9ca880-d0a6-4843-ba37-4bf7454632fe" providerId="ADAL" clId="{8B9CA085-EC09-48EF-8D00-44ADCE8CDE4E}" dt="2025-06-03T19:48:17.054" v="2753" actId="478"/>
          <ac:picMkLst>
            <pc:docMk/>
            <pc:sldMk cId="3771133458" sldId="480"/>
            <ac:picMk id="16" creationId="{EA05317A-1345-83B0-6FFD-6009EB66FD33}"/>
          </ac:picMkLst>
        </pc:picChg>
      </pc:sldChg>
    </pc:docChg>
  </pc:docChgLst>
  <pc:docChgLst>
    <pc:chgData name="Somani, Priyam" userId="S::prs226@pitt.edu::fd9ca880-d0a6-4843-ba37-4bf7454632fe" providerId="AD" clId="Web-{B4EC19D9-2723-DDD2-9F2D-9B4F8DA8196F}"/>
    <pc:docChg chg="modSld">
      <pc:chgData name="Somani, Priyam" userId="S::prs226@pitt.edu::fd9ca880-d0a6-4843-ba37-4bf7454632fe" providerId="AD" clId="Web-{B4EC19D9-2723-DDD2-9F2D-9B4F8DA8196F}" dt="2025-05-28T02:06:39.005" v="12" actId="1076"/>
      <pc:docMkLst>
        <pc:docMk/>
      </pc:docMkLst>
      <pc:sldChg chg="modSp modCm">
        <pc:chgData name="Somani, Priyam" userId="S::prs226@pitt.edu::fd9ca880-d0a6-4843-ba37-4bf7454632fe" providerId="AD" clId="Web-{B4EC19D9-2723-DDD2-9F2D-9B4F8DA8196F}" dt="2025-05-28T02:06:39.005" v="12" actId="1076"/>
        <pc:sldMkLst>
          <pc:docMk/>
          <pc:sldMk cId="3880380257" sldId="451"/>
        </pc:sldMkLst>
        <pc:spChg chg="mod">
          <ac:chgData name="Somani, Priyam" userId="S::prs226@pitt.edu::fd9ca880-d0a6-4843-ba37-4bf7454632fe" providerId="AD" clId="Web-{B4EC19D9-2723-DDD2-9F2D-9B4F8DA8196F}" dt="2025-05-28T02:06:31.489" v="10" actId="20577"/>
          <ac:spMkLst>
            <pc:docMk/>
            <pc:sldMk cId="3880380257" sldId="451"/>
            <ac:spMk id="4" creationId="{4A4A2A84-490D-5498-E255-64D3B7AB4C56}"/>
          </ac:spMkLst>
        </pc:spChg>
        <pc:spChg chg="mod">
          <ac:chgData name="Somani, Priyam" userId="S::prs226@pitt.edu::fd9ca880-d0a6-4843-ba37-4bf7454632fe" providerId="AD" clId="Web-{B4EC19D9-2723-DDD2-9F2D-9B4F8DA8196F}" dt="2025-05-28T02:06:25.802" v="8" actId="20577"/>
          <ac:spMkLst>
            <pc:docMk/>
            <pc:sldMk cId="3880380257" sldId="451"/>
            <ac:spMk id="5" creationId="{A39C5115-470F-265F-68A5-2CA0FE9340E5}"/>
          </ac:spMkLst>
        </pc:spChg>
        <pc:spChg chg="mod">
          <ac:chgData name="Somani, Priyam" userId="S::prs226@pitt.edu::fd9ca880-d0a6-4843-ba37-4bf7454632fe" providerId="AD" clId="Web-{B4EC19D9-2723-DDD2-9F2D-9B4F8DA8196F}" dt="2025-05-28T02:06:39.005" v="12" actId="1076"/>
          <ac:spMkLst>
            <pc:docMk/>
            <pc:sldMk cId="3880380257" sldId="451"/>
            <ac:spMk id="14" creationId="{55AB91F0-FB62-F45D-1FA7-DB9F4D5644B4}"/>
          </ac:spMkLst>
        </pc:spChg>
        <pc:extLst>
          <p:ext xmlns:p="http://schemas.openxmlformats.org/presentationml/2006/main" uri="{D6D511B9-2390-475A-947B-AFAB55BFBCF1}">
            <pc226:cmChg xmlns:pc226="http://schemas.microsoft.com/office/powerpoint/2022/06/main/command" chg="mod">
              <pc226:chgData name="Somani, Priyam" userId="S::prs226@pitt.edu::fd9ca880-d0a6-4843-ba37-4bf7454632fe" providerId="AD" clId="Web-{B4EC19D9-2723-DDD2-9F2D-9B4F8DA8196F}" dt="2025-05-28T02:05:53.988" v="7" actId="20577"/>
              <pc2:cmMkLst xmlns:pc2="http://schemas.microsoft.com/office/powerpoint/2019/9/main/command">
                <pc:docMk/>
                <pc:sldMk cId="3880380257" sldId="451"/>
                <pc2:cmMk id="{D7AF8614-CD0C-49FD-9766-16D28D7D33E0}"/>
              </pc2:cmMkLst>
            </pc226:cmChg>
            <pc226:cmChg xmlns:pc226="http://schemas.microsoft.com/office/powerpoint/2022/06/main/command" chg="mod">
              <pc226:chgData name="Somani, Priyam" userId="S::prs226@pitt.edu::fd9ca880-d0a6-4843-ba37-4bf7454632fe" providerId="AD" clId="Web-{B4EC19D9-2723-DDD2-9F2D-9B4F8DA8196F}" dt="2025-05-28T02:05:53.988" v="7" actId="20577"/>
              <pc2:cmMkLst xmlns:pc2="http://schemas.microsoft.com/office/powerpoint/2019/9/main/command">
                <pc:docMk/>
                <pc:sldMk cId="3880380257" sldId="451"/>
                <pc2:cmMk id="{B1EC4A76-0134-43DD-A245-DB76AC35EFA3}"/>
              </pc2:cmMkLst>
            </pc226:cmChg>
            <pc226:cmChg xmlns:pc226="http://schemas.microsoft.com/office/powerpoint/2022/06/main/command" chg="mod">
              <pc226:chgData name="Somani, Priyam" userId="S::prs226@pitt.edu::fd9ca880-d0a6-4843-ba37-4bf7454632fe" providerId="AD" clId="Web-{B4EC19D9-2723-DDD2-9F2D-9B4F8DA8196F}" dt="2025-05-28T02:05:53.988" v="7" actId="20577"/>
              <pc2:cmMkLst xmlns:pc2="http://schemas.microsoft.com/office/powerpoint/2019/9/main/command">
                <pc:docMk/>
                <pc:sldMk cId="3880380257" sldId="451"/>
                <pc2:cmMk id="{E3FAF8DE-5D44-4E00-915F-65CBBE4C6DCA}"/>
              </pc2:cmMkLst>
            </pc226:cmChg>
          </p:ext>
        </pc:extLst>
      </pc:sldChg>
    </pc:docChg>
  </pc:docChgLst>
  <pc:docChgLst>
    <pc:chgData name="Somani, Priyam" userId="S::prs226@pitt.edu::fd9ca880-d0a6-4843-ba37-4bf7454632fe" providerId="AD" clId="Web-{E30B72B3-DFBA-105D-EFF3-DBFCE8EAEF67}"/>
    <pc:docChg chg="modSld sldOrd">
      <pc:chgData name="Somani, Priyam" userId="S::prs226@pitt.edu::fd9ca880-d0a6-4843-ba37-4bf7454632fe" providerId="AD" clId="Web-{E30B72B3-DFBA-105D-EFF3-DBFCE8EAEF67}" dt="2025-05-27T08:42:06.308" v="57" actId="20577"/>
      <pc:docMkLst>
        <pc:docMk/>
      </pc:docMkLst>
      <pc:sldChg chg="addSp modSp">
        <pc:chgData name="Somani, Priyam" userId="S::prs226@pitt.edu::fd9ca880-d0a6-4843-ba37-4bf7454632fe" providerId="AD" clId="Web-{E30B72B3-DFBA-105D-EFF3-DBFCE8EAEF67}" dt="2025-05-27T08:41:41.837" v="44" actId="20577"/>
        <pc:sldMkLst>
          <pc:docMk/>
          <pc:sldMk cId="3521687261" sldId="445"/>
        </pc:sldMkLst>
        <pc:spChg chg="add mod">
          <ac:chgData name="Somani, Priyam" userId="S::prs226@pitt.edu::fd9ca880-d0a6-4843-ba37-4bf7454632fe" providerId="AD" clId="Web-{E30B72B3-DFBA-105D-EFF3-DBFCE8EAEF67}" dt="2025-05-27T08:41:41.837" v="44" actId="20577"/>
          <ac:spMkLst>
            <pc:docMk/>
            <pc:sldMk cId="3521687261" sldId="445"/>
            <ac:spMk id="20" creationId="{AD7B549E-E82A-293E-7084-2C3F2A492E6F}"/>
          </ac:spMkLst>
        </pc:spChg>
      </pc:sldChg>
      <pc:sldChg chg="addSp modSp ord">
        <pc:chgData name="Somani, Priyam" userId="S::prs226@pitt.edu::fd9ca880-d0a6-4843-ba37-4bf7454632fe" providerId="AD" clId="Web-{E30B72B3-DFBA-105D-EFF3-DBFCE8EAEF67}" dt="2025-05-27T08:42:06.308" v="57" actId="20577"/>
        <pc:sldMkLst>
          <pc:docMk/>
          <pc:sldMk cId="2013380474" sldId="456"/>
        </pc:sldMkLst>
        <pc:spChg chg="add mod">
          <ac:chgData name="Somani, Priyam" userId="S::prs226@pitt.edu::fd9ca880-d0a6-4843-ba37-4bf7454632fe" providerId="AD" clId="Web-{E30B72B3-DFBA-105D-EFF3-DBFCE8EAEF67}" dt="2025-05-27T08:42:06.308" v="57" actId="20577"/>
          <ac:spMkLst>
            <pc:docMk/>
            <pc:sldMk cId="2013380474" sldId="456"/>
            <ac:spMk id="17" creationId="{21343374-4F41-69C4-9BF1-32799E6A91A5}"/>
          </ac:spMkLst>
        </pc:spChg>
      </pc:sldChg>
    </pc:docChg>
  </pc:docChgLst>
  <pc:docChgLst>
    <pc:chgData name="Fitzgerald, Madeline" userId="c680c3b0-1f97-40c6-b06e-80efdcdb988b" providerId="ADAL" clId="{B8BF1D00-457E-4F6C-BAC6-28E7879A2C39}"/>
    <pc:docChg chg="undo custSel addSld delSld modSld sldOrd modMainMaster delSection">
      <pc:chgData name="Fitzgerald, Madeline" userId="c680c3b0-1f97-40c6-b06e-80efdcdb988b" providerId="ADAL" clId="{B8BF1D00-457E-4F6C-BAC6-28E7879A2C39}" dt="2025-05-28T04:02:51.523" v="3045" actId="207"/>
      <pc:docMkLst>
        <pc:docMk/>
      </pc:docMkLst>
      <pc:sldChg chg="addSp delSp modSp mod delAnim modAnim">
        <pc:chgData name="Fitzgerald, Madeline" userId="c680c3b0-1f97-40c6-b06e-80efdcdb988b" providerId="ADAL" clId="{B8BF1D00-457E-4F6C-BAC6-28E7879A2C39}" dt="2025-05-28T04:00:48.832" v="3028" actId="20577"/>
        <pc:sldMkLst>
          <pc:docMk/>
          <pc:sldMk cId="852523260" sldId="357"/>
        </pc:sldMkLst>
        <pc:spChg chg="mod">
          <ac:chgData name="Fitzgerald, Madeline" userId="c680c3b0-1f97-40c6-b06e-80efdcdb988b" providerId="ADAL" clId="{B8BF1D00-457E-4F6C-BAC6-28E7879A2C39}" dt="2025-05-28T03:17:31.100" v="2222" actId="1076"/>
          <ac:spMkLst>
            <pc:docMk/>
            <pc:sldMk cId="852523260" sldId="357"/>
            <ac:spMk id="3" creationId="{9381B3BA-E0A5-457F-93F2-309E3BFD923A}"/>
          </ac:spMkLst>
        </pc:spChg>
        <pc:spChg chg="add mod">
          <ac:chgData name="Fitzgerald, Madeline" userId="c680c3b0-1f97-40c6-b06e-80efdcdb988b" providerId="ADAL" clId="{B8BF1D00-457E-4F6C-BAC6-28E7879A2C39}" dt="2025-05-28T03:10:35.315" v="2148" actId="20577"/>
          <ac:spMkLst>
            <pc:docMk/>
            <pc:sldMk cId="852523260" sldId="357"/>
            <ac:spMk id="4" creationId="{50080309-6620-64C3-EB7F-FC0765F360FA}"/>
          </ac:spMkLst>
        </pc:spChg>
        <pc:spChg chg="add mod">
          <ac:chgData name="Fitzgerald, Madeline" userId="c680c3b0-1f97-40c6-b06e-80efdcdb988b" providerId="ADAL" clId="{B8BF1D00-457E-4F6C-BAC6-28E7879A2C39}" dt="2025-05-28T03:17:51.615" v="2223" actId="179"/>
          <ac:spMkLst>
            <pc:docMk/>
            <pc:sldMk cId="852523260" sldId="357"/>
            <ac:spMk id="5" creationId="{D266E271-4E5D-DA14-1122-4993620E4989}"/>
          </ac:spMkLst>
        </pc:spChg>
        <pc:spChg chg="add mod">
          <ac:chgData name="Fitzgerald, Madeline" userId="c680c3b0-1f97-40c6-b06e-80efdcdb988b" providerId="ADAL" clId="{B8BF1D00-457E-4F6C-BAC6-28E7879A2C39}" dt="2025-05-28T03:17:59.041" v="2224" actId="179"/>
          <ac:spMkLst>
            <pc:docMk/>
            <pc:sldMk cId="852523260" sldId="357"/>
            <ac:spMk id="6" creationId="{5CC1CF29-8B31-DCC2-EAD2-18CD4DEE128F}"/>
          </ac:spMkLst>
        </pc:spChg>
        <pc:spChg chg="add mod">
          <ac:chgData name="Fitzgerald, Madeline" userId="c680c3b0-1f97-40c6-b06e-80efdcdb988b" providerId="ADAL" clId="{B8BF1D00-457E-4F6C-BAC6-28E7879A2C39}" dt="2025-05-23T16:11:16.139" v="1333"/>
          <ac:spMkLst>
            <pc:docMk/>
            <pc:sldMk cId="852523260" sldId="357"/>
            <ac:spMk id="8" creationId="{B334697F-2FF7-EA90-D4CB-E8BDB567C388}"/>
          </ac:spMkLst>
        </pc:spChg>
        <pc:spChg chg="add del mod">
          <ac:chgData name="Fitzgerald, Madeline" userId="c680c3b0-1f97-40c6-b06e-80efdcdb988b" providerId="ADAL" clId="{B8BF1D00-457E-4F6C-BAC6-28E7879A2C39}" dt="2025-05-28T03:09:47.372" v="2112" actId="478"/>
          <ac:spMkLst>
            <pc:docMk/>
            <pc:sldMk cId="852523260" sldId="357"/>
            <ac:spMk id="9" creationId="{E87EA34D-D4FD-FFF7-AF6B-926F193DB047}"/>
          </ac:spMkLst>
        </pc:spChg>
        <pc:spChg chg="add mod">
          <ac:chgData name="Fitzgerald, Madeline" userId="c680c3b0-1f97-40c6-b06e-80efdcdb988b" providerId="ADAL" clId="{B8BF1D00-457E-4F6C-BAC6-28E7879A2C39}" dt="2025-05-28T03:18:07.492" v="2226" actId="179"/>
          <ac:spMkLst>
            <pc:docMk/>
            <pc:sldMk cId="852523260" sldId="357"/>
            <ac:spMk id="10" creationId="{248390CE-A9D9-55BF-0C56-3E16BBD3E6CF}"/>
          </ac:spMkLst>
        </pc:spChg>
        <pc:spChg chg="add mod">
          <ac:chgData name="Fitzgerald, Madeline" userId="c680c3b0-1f97-40c6-b06e-80efdcdb988b" providerId="ADAL" clId="{B8BF1D00-457E-4F6C-BAC6-28E7879A2C39}" dt="2025-05-28T03:18:15.413" v="2228" actId="179"/>
          <ac:spMkLst>
            <pc:docMk/>
            <pc:sldMk cId="852523260" sldId="357"/>
            <ac:spMk id="11" creationId="{40DA4D29-7D54-9CB3-E2FE-F13DA0B262F0}"/>
          </ac:spMkLst>
        </pc:spChg>
        <pc:spChg chg="add mod">
          <ac:chgData name="Fitzgerald, Madeline" userId="c680c3b0-1f97-40c6-b06e-80efdcdb988b" providerId="ADAL" clId="{B8BF1D00-457E-4F6C-BAC6-28E7879A2C39}" dt="2025-05-28T03:18:23.845" v="2230" actId="179"/>
          <ac:spMkLst>
            <pc:docMk/>
            <pc:sldMk cId="852523260" sldId="357"/>
            <ac:spMk id="12" creationId="{AA8FB89E-00D0-744A-234C-3EFFFA5ACEC4}"/>
          </ac:spMkLst>
        </pc:spChg>
        <pc:spChg chg="add mod ord">
          <ac:chgData name="Fitzgerald, Madeline" userId="c680c3b0-1f97-40c6-b06e-80efdcdb988b" providerId="ADAL" clId="{B8BF1D00-457E-4F6C-BAC6-28E7879A2C39}" dt="2025-05-28T03:15:23.700" v="2203" actId="14100"/>
          <ac:spMkLst>
            <pc:docMk/>
            <pc:sldMk cId="852523260" sldId="357"/>
            <ac:spMk id="13" creationId="{54C2ED8C-E4B0-42D1-1E48-10F2983B0581}"/>
          </ac:spMkLst>
        </pc:spChg>
        <pc:spChg chg="del mod">
          <ac:chgData name="Fitzgerald, Madeline" userId="c680c3b0-1f97-40c6-b06e-80efdcdb988b" providerId="ADAL" clId="{B8BF1D00-457E-4F6C-BAC6-28E7879A2C39}" dt="2025-05-28T03:13:17.499" v="2175" actId="478"/>
          <ac:spMkLst>
            <pc:docMk/>
            <pc:sldMk cId="852523260" sldId="357"/>
            <ac:spMk id="16" creationId="{22DA4EDF-741A-E500-AD01-1D24C813A2BC}"/>
          </ac:spMkLst>
        </pc:spChg>
        <pc:graphicFrameChg chg="mod">
          <ac:chgData name="Fitzgerald, Madeline" userId="c680c3b0-1f97-40c6-b06e-80efdcdb988b" providerId="ADAL" clId="{B8BF1D00-457E-4F6C-BAC6-28E7879A2C39}" dt="2025-05-28T04:00:48.832" v="3028" actId="20577"/>
          <ac:graphicFrameMkLst>
            <pc:docMk/>
            <pc:sldMk cId="852523260" sldId="357"/>
            <ac:graphicFrameMk id="2" creationId="{74B6B0E8-11AD-E2B2-524B-42051C4D66A3}"/>
          </ac:graphicFrameMkLst>
        </pc:graphicFrameChg>
        <pc:picChg chg="mod">
          <ac:chgData name="Fitzgerald, Madeline" userId="c680c3b0-1f97-40c6-b06e-80efdcdb988b" providerId="ADAL" clId="{B8BF1D00-457E-4F6C-BAC6-28E7879A2C39}" dt="2025-05-28T03:15:20.661" v="2202" actId="1076"/>
          <ac:picMkLst>
            <pc:docMk/>
            <pc:sldMk cId="852523260" sldId="357"/>
            <ac:picMk id="7" creationId="{F1975F9E-D640-FD6F-D62E-C9AF110793BC}"/>
          </ac:picMkLst>
        </pc:picChg>
        <pc:picChg chg="add mod">
          <ac:chgData name="Fitzgerald, Madeline" userId="c680c3b0-1f97-40c6-b06e-80efdcdb988b" providerId="ADAL" clId="{B8BF1D00-457E-4F6C-BAC6-28E7879A2C39}" dt="2025-05-28T03:22:49.206" v="2247" actId="1076"/>
          <ac:picMkLst>
            <pc:docMk/>
            <pc:sldMk cId="852523260" sldId="357"/>
            <ac:picMk id="15" creationId="{29E06702-CCC0-887B-6D62-274BD7626775}"/>
          </ac:picMkLst>
        </pc:picChg>
        <pc:picChg chg="add mod">
          <ac:chgData name="Fitzgerald, Madeline" userId="c680c3b0-1f97-40c6-b06e-80efdcdb988b" providerId="ADAL" clId="{B8BF1D00-457E-4F6C-BAC6-28E7879A2C39}" dt="2025-05-28T03:23:02.016" v="2251" actId="1076"/>
          <ac:picMkLst>
            <pc:docMk/>
            <pc:sldMk cId="852523260" sldId="357"/>
            <ac:picMk id="18" creationId="{51AEA4EC-6110-3C92-06B5-FACCF4CA253F}"/>
          </ac:picMkLst>
        </pc:picChg>
        <pc:picChg chg="add mod">
          <ac:chgData name="Fitzgerald, Madeline" userId="c680c3b0-1f97-40c6-b06e-80efdcdb988b" providerId="ADAL" clId="{B8BF1D00-457E-4F6C-BAC6-28E7879A2C39}" dt="2025-05-28T03:22:36.951" v="2244" actId="1076"/>
          <ac:picMkLst>
            <pc:docMk/>
            <pc:sldMk cId="852523260" sldId="357"/>
            <ac:picMk id="20" creationId="{F6D40B5E-B091-7DD1-3811-73C36062BA24}"/>
          </ac:picMkLst>
        </pc:picChg>
        <pc:picChg chg="add mod">
          <ac:chgData name="Fitzgerald, Madeline" userId="c680c3b0-1f97-40c6-b06e-80efdcdb988b" providerId="ADAL" clId="{B8BF1D00-457E-4F6C-BAC6-28E7879A2C39}" dt="2025-05-28T03:22:29.867" v="2241" actId="1076"/>
          <ac:picMkLst>
            <pc:docMk/>
            <pc:sldMk cId="852523260" sldId="357"/>
            <ac:picMk id="22" creationId="{2B47AA2B-817B-B3C7-2F65-5E697232FB91}"/>
          </ac:picMkLst>
        </pc:picChg>
        <pc:picChg chg="add mod">
          <ac:chgData name="Fitzgerald, Madeline" userId="c680c3b0-1f97-40c6-b06e-80efdcdb988b" providerId="ADAL" clId="{B8BF1D00-457E-4F6C-BAC6-28E7879A2C39}" dt="2025-05-28T03:22:21.201" v="2238" actId="1076"/>
          <ac:picMkLst>
            <pc:docMk/>
            <pc:sldMk cId="852523260" sldId="357"/>
            <ac:picMk id="24" creationId="{F3DAA6D7-1CD6-97DC-E5BF-8D9F8D1B9D6C}"/>
          </ac:picMkLst>
        </pc:picChg>
      </pc:sldChg>
      <pc:sldChg chg="addSp delSp modSp add mod">
        <pc:chgData name="Fitzgerald, Madeline" userId="c680c3b0-1f97-40c6-b06e-80efdcdb988b" providerId="ADAL" clId="{B8BF1D00-457E-4F6C-BAC6-28E7879A2C39}" dt="2025-05-23T16:02:35.096" v="1173" actId="14100"/>
        <pc:sldMkLst>
          <pc:docMk/>
          <pc:sldMk cId="3150467674" sldId="382"/>
        </pc:sldMkLst>
        <pc:spChg chg="mod">
          <ac:chgData name="Fitzgerald, Madeline" userId="c680c3b0-1f97-40c6-b06e-80efdcdb988b" providerId="ADAL" clId="{B8BF1D00-457E-4F6C-BAC6-28E7879A2C39}" dt="2025-05-23T16:00:35.499" v="1132" actId="20577"/>
          <ac:spMkLst>
            <pc:docMk/>
            <pc:sldMk cId="3150467674" sldId="382"/>
            <ac:spMk id="12" creationId="{45CE1FFC-FEC9-6DA9-C23B-29E4558001AB}"/>
          </ac:spMkLst>
        </pc:spChg>
        <pc:spChg chg="mod">
          <ac:chgData name="Fitzgerald, Madeline" userId="c680c3b0-1f97-40c6-b06e-80efdcdb988b" providerId="ADAL" clId="{B8BF1D00-457E-4F6C-BAC6-28E7879A2C39}" dt="2025-05-23T16:00:55.908" v="1165" actId="20577"/>
          <ac:spMkLst>
            <pc:docMk/>
            <pc:sldMk cId="3150467674" sldId="382"/>
            <ac:spMk id="13" creationId="{D3781003-C743-796F-7693-406B607796E7}"/>
          </ac:spMkLst>
        </pc:spChg>
        <pc:picChg chg="add mod">
          <ac:chgData name="Fitzgerald, Madeline" userId="c680c3b0-1f97-40c6-b06e-80efdcdb988b" providerId="ADAL" clId="{B8BF1D00-457E-4F6C-BAC6-28E7879A2C39}" dt="2025-05-23T16:02:35.096" v="1173" actId="14100"/>
          <ac:picMkLst>
            <pc:docMk/>
            <pc:sldMk cId="3150467674" sldId="382"/>
            <ac:picMk id="11" creationId="{7737E315-3AEF-503D-90DC-073F54EE4937}"/>
          </ac:picMkLst>
        </pc:picChg>
      </pc:sldChg>
      <pc:sldChg chg="del">
        <pc:chgData name="Fitzgerald, Madeline" userId="c680c3b0-1f97-40c6-b06e-80efdcdb988b" providerId="ADAL" clId="{B8BF1D00-457E-4F6C-BAC6-28E7879A2C39}" dt="2025-05-23T16:01:18.327" v="1167" actId="47"/>
        <pc:sldMkLst>
          <pc:docMk/>
          <pc:sldMk cId="17370879" sldId="384"/>
        </pc:sldMkLst>
      </pc:sldChg>
      <pc:sldChg chg="modSp del mod">
        <pc:chgData name="Fitzgerald, Madeline" userId="c680c3b0-1f97-40c6-b06e-80efdcdb988b" providerId="ADAL" clId="{B8BF1D00-457E-4F6C-BAC6-28E7879A2C39}" dt="2025-05-23T16:02:52.425" v="1174" actId="47"/>
        <pc:sldMkLst>
          <pc:docMk/>
          <pc:sldMk cId="1311376065" sldId="386"/>
        </pc:sldMkLst>
      </pc:sldChg>
      <pc:sldChg chg="modSp del">
        <pc:chgData name="Fitzgerald, Madeline" userId="c680c3b0-1f97-40c6-b06e-80efdcdb988b" providerId="ADAL" clId="{B8BF1D00-457E-4F6C-BAC6-28E7879A2C39}" dt="2025-05-23T16:13:35.601" v="1343" actId="47"/>
        <pc:sldMkLst>
          <pc:docMk/>
          <pc:sldMk cId="490635505" sldId="388"/>
        </pc:sldMkLst>
      </pc:sldChg>
      <pc:sldChg chg="modSp mod">
        <pc:chgData name="Fitzgerald, Madeline" userId="c680c3b0-1f97-40c6-b06e-80efdcdb988b" providerId="ADAL" clId="{B8BF1D00-457E-4F6C-BAC6-28E7879A2C39}" dt="2025-05-23T15:57:45.680" v="1003" actId="27636"/>
        <pc:sldMkLst>
          <pc:docMk/>
          <pc:sldMk cId="2675709549" sldId="389"/>
        </pc:sldMkLst>
        <pc:spChg chg="mod">
          <ac:chgData name="Fitzgerald, Madeline" userId="c680c3b0-1f97-40c6-b06e-80efdcdb988b" providerId="ADAL" clId="{B8BF1D00-457E-4F6C-BAC6-28E7879A2C39}" dt="2025-05-23T15:57:45.680" v="1003" actId="27636"/>
          <ac:spMkLst>
            <pc:docMk/>
            <pc:sldMk cId="2675709549" sldId="389"/>
            <ac:spMk id="3" creationId="{EF1CF58D-39B4-5CFC-E24D-EB5041ABAB9E}"/>
          </ac:spMkLst>
        </pc:spChg>
      </pc:sldChg>
      <pc:sldChg chg="modSp mod">
        <pc:chgData name="Fitzgerald, Madeline" userId="c680c3b0-1f97-40c6-b06e-80efdcdb988b" providerId="ADAL" clId="{B8BF1D00-457E-4F6C-BAC6-28E7879A2C39}" dt="2025-05-23T15:57:45.696" v="1004" actId="27636"/>
        <pc:sldMkLst>
          <pc:docMk/>
          <pc:sldMk cId="2532721541" sldId="390"/>
        </pc:sldMkLst>
        <pc:spChg chg="mod">
          <ac:chgData name="Fitzgerald, Madeline" userId="c680c3b0-1f97-40c6-b06e-80efdcdb988b" providerId="ADAL" clId="{B8BF1D00-457E-4F6C-BAC6-28E7879A2C39}" dt="2025-05-23T15:57:45.696" v="1004" actId="27636"/>
          <ac:spMkLst>
            <pc:docMk/>
            <pc:sldMk cId="2532721541" sldId="390"/>
            <ac:spMk id="3" creationId="{0A081D75-F7C7-037F-CAF4-7269255576F1}"/>
          </ac:spMkLst>
        </pc:spChg>
      </pc:sldChg>
      <pc:sldChg chg="modSp del mod">
        <pc:chgData name="Fitzgerald, Madeline" userId="c680c3b0-1f97-40c6-b06e-80efdcdb988b" providerId="ADAL" clId="{B8BF1D00-457E-4F6C-BAC6-28E7879A2C39}" dt="2025-05-23T16:06:13.179" v="1241" actId="47"/>
        <pc:sldMkLst>
          <pc:docMk/>
          <pc:sldMk cId="2985181947" sldId="391"/>
        </pc:sldMkLst>
      </pc:sldChg>
      <pc:sldChg chg="del">
        <pc:chgData name="Fitzgerald, Madeline" userId="c680c3b0-1f97-40c6-b06e-80efdcdb988b" providerId="ADAL" clId="{B8BF1D00-457E-4F6C-BAC6-28E7879A2C39}" dt="2025-05-20T19:28:06.802" v="189" actId="47"/>
        <pc:sldMkLst>
          <pc:docMk/>
          <pc:sldMk cId="3027862558" sldId="420"/>
        </pc:sldMkLst>
      </pc:sldChg>
      <pc:sldChg chg="del">
        <pc:chgData name="Fitzgerald, Madeline" userId="c680c3b0-1f97-40c6-b06e-80efdcdb988b" providerId="ADAL" clId="{B8BF1D00-457E-4F6C-BAC6-28E7879A2C39}" dt="2025-05-23T15:36:05.935" v="733" actId="47"/>
        <pc:sldMkLst>
          <pc:docMk/>
          <pc:sldMk cId="549937830" sldId="423"/>
        </pc:sldMkLst>
      </pc:sldChg>
      <pc:sldChg chg="addSp delSp modSp mod">
        <pc:chgData name="Fitzgerald, Madeline" userId="c680c3b0-1f97-40c6-b06e-80efdcdb988b" providerId="ADAL" clId="{B8BF1D00-457E-4F6C-BAC6-28E7879A2C39}" dt="2025-05-23T16:32:21.706" v="1597" actId="1035"/>
        <pc:sldMkLst>
          <pc:docMk/>
          <pc:sldMk cId="1869322492" sldId="435"/>
        </pc:sldMkLst>
        <pc:spChg chg="add mod">
          <ac:chgData name="Fitzgerald, Madeline" userId="c680c3b0-1f97-40c6-b06e-80efdcdb988b" providerId="ADAL" clId="{B8BF1D00-457E-4F6C-BAC6-28E7879A2C39}" dt="2025-05-23T16:28:35.165" v="1512" actId="14100"/>
          <ac:spMkLst>
            <pc:docMk/>
            <pc:sldMk cId="1869322492" sldId="435"/>
            <ac:spMk id="8" creationId="{6EF55A33-B31A-AFE8-2893-FDED3EFB64A8}"/>
          </ac:spMkLst>
        </pc:spChg>
        <pc:spChg chg="add mod">
          <ac:chgData name="Fitzgerald, Madeline" userId="c680c3b0-1f97-40c6-b06e-80efdcdb988b" providerId="ADAL" clId="{B8BF1D00-457E-4F6C-BAC6-28E7879A2C39}" dt="2025-05-23T16:32:21.706" v="1597" actId="1035"/>
          <ac:spMkLst>
            <pc:docMk/>
            <pc:sldMk cId="1869322492" sldId="435"/>
            <ac:spMk id="11" creationId="{95AC4FFC-3B8F-A5EF-D76B-8D3B234BB39A}"/>
          </ac:spMkLst>
        </pc:spChg>
        <pc:spChg chg="add mod">
          <ac:chgData name="Fitzgerald, Madeline" userId="c680c3b0-1f97-40c6-b06e-80efdcdb988b" providerId="ADAL" clId="{B8BF1D00-457E-4F6C-BAC6-28E7879A2C39}" dt="2025-05-23T16:32:21.706" v="1597" actId="1035"/>
          <ac:spMkLst>
            <pc:docMk/>
            <pc:sldMk cId="1869322492" sldId="435"/>
            <ac:spMk id="12" creationId="{B6E78070-2203-8082-3ACF-3D583328D4E8}"/>
          </ac:spMkLst>
        </pc:spChg>
        <pc:spChg chg="add mod">
          <ac:chgData name="Fitzgerald, Madeline" userId="c680c3b0-1f97-40c6-b06e-80efdcdb988b" providerId="ADAL" clId="{B8BF1D00-457E-4F6C-BAC6-28E7879A2C39}" dt="2025-05-23T16:28:58.201" v="1548" actId="1035"/>
          <ac:spMkLst>
            <pc:docMk/>
            <pc:sldMk cId="1869322492" sldId="435"/>
            <ac:spMk id="13" creationId="{4EFE1344-360C-121E-B769-FA53B530F145}"/>
          </ac:spMkLst>
        </pc:spChg>
        <pc:spChg chg="add mod">
          <ac:chgData name="Fitzgerald, Madeline" userId="c680c3b0-1f97-40c6-b06e-80efdcdb988b" providerId="ADAL" clId="{B8BF1D00-457E-4F6C-BAC6-28E7879A2C39}" dt="2025-05-23T16:17:58.425" v="1395" actId="14100"/>
          <ac:spMkLst>
            <pc:docMk/>
            <pc:sldMk cId="1869322492" sldId="435"/>
            <ac:spMk id="14" creationId="{322F519B-9699-F864-6A09-F23F59D347F0}"/>
          </ac:spMkLst>
        </pc:spChg>
        <pc:spChg chg="add mod">
          <ac:chgData name="Fitzgerald, Madeline" userId="c680c3b0-1f97-40c6-b06e-80efdcdb988b" providerId="ADAL" clId="{B8BF1D00-457E-4F6C-BAC6-28E7879A2C39}" dt="2025-05-23T16:32:21.706" v="1597" actId="1035"/>
          <ac:spMkLst>
            <pc:docMk/>
            <pc:sldMk cId="1869322492" sldId="435"/>
            <ac:spMk id="15" creationId="{8A4A9DBE-7976-570C-0279-C278DC0BC77E}"/>
          </ac:spMkLst>
        </pc:spChg>
        <pc:spChg chg="add mod">
          <ac:chgData name="Fitzgerald, Madeline" userId="c680c3b0-1f97-40c6-b06e-80efdcdb988b" providerId="ADAL" clId="{B8BF1D00-457E-4F6C-BAC6-28E7879A2C39}" dt="2025-05-23T16:29:08.383" v="1560" actId="1035"/>
          <ac:spMkLst>
            <pc:docMk/>
            <pc:sldMk cId="1869322492" sldId="435"/>
            <ac:spMk id="16" creationId="{F681D7D2-BF03-BE01-A05B-CDBE2023D694}"/>
          </ac:spMkLst>
        </pc:spChg>
        <pc:spChg chg="add mod">
          <ac:chgData name="Fitzgerald, Madeline" userId="c680c3b0-1f97-40c6-b06e-80efdcdb988b" providerId="ADAL" clId="{B8BF1D00-457E-4F6C-BAC6-28E7879A2C39}" dt="2025-05-23T16:29:08.383" v="1560" actId="1035"/>
          <ac:spMkLst>
            <pc:docMk/>
            <pc:sldMk cId="1869322492" sldId="435"/>
            <ac:spMk id="17" creationId="{C6205509-FA8E-4B0F-1F01-F85E1775C949}"/>
          </ac:spMkLst>
        </pc:spChg>
        <pc:spChg chg="add mod">
          <ac:chgData name="Fitzgerald, Madeline" userId="c680c3b0-1f97-40c6-b06e-80efdcdb988b" providerId="ADAL" clId="{B8BF1D00-457E-4F6C-BAC6-28E7879A2C39}" dt="2025-05-23T16:17:17.107" v="1357"/>
          <ac:spMkLst>
            <pc:docMk/>
            <pc:sldMk cId="1869322492" sldId="435"/>
            <ac:spMk id="21" creationId="{B5469D3F-392C-B264-D37D-B4EC9BA932E7}"/>
          </ac:spMkLst>
        </pc:spChg>
        <pc:spChg chg="add mod">
          <ac:chgData name="Fitzgerald, Madeline" userId="c680c3b0-1f97-40c6-b06e-80efdcdb988b" providerId="ADAL" clId="{B8BF1D00-457E-4F6C-BAC6-28E7879A2C39}" dt="2025-05-23T16:32:21.706" v="1597" actId="1035"/>
          <ac:spMkLst>
            <pc:docMk/>
            <pc:sldMk cId="1869322492" sldId="435"/>
            <ac:spMk id="23" creationId="{B1B1FA06-EF70-4CE8-5476-870333F9FC85}"/>
          </ac:spMkLst>
        </pc:spChg>
        <pc:spChg chg="add mod">
          <ac:chgData name="Fitzgerald, Madeline" userId="c680c3b0-1f97-40c6-b06e-80efdcdb988b" providerId="ADAL" clId="{B8BF1D00-457E-4F6C-BAC6-28E7879A2C39}" dt="2025-05-23T16:32:21.706" v="1597" actId="1035"/>
          <ac:spMkLst>
            <pc:docMk/>
            <pc:sldMk cId="1869322492" sldId="435"/>
            <ac:spMk id="24" creationId="{BFD6CD04-45AA-E1A6-38EC-EC6184E4CF31}"/>
          </ac:spMkLst>
        </pc:spChg>
        <pc:spChg chg="add mod">
          <ac:chgData name="Fitzgerald, Madeline" userId="c680c3b0-1f97-40c6-b06e-80efdcdb988b" providerId="ADAL" clId="{B8BF1D00-457E-4F6C-BAC6-28E7879A2C39}" dt="2025-05-23T16:32:21.706" v="1597" actId="1035"/>
          <ac:spMkLst>
            <pc:docMk/>
            <pc:sldMk cId="1869322492" sldId="435"/>
            <ac:spMk id="29" creationId="{1EB83A24-16B8-77FA-297B-92DF30DBDCA4}"/>
          </ac:spMkLst>
        </pc:spChg>
        <pc:spChg chg="add mod">
          <ac:chgData name="Fitzgerald, Madeline" userId="c680c3b0-1f97-40c6-b06e-80efdcdb988b" providerId="ADAL" clId="{B8BF1D00-457E-4F6C-BAC6-28E7879A2C39}" dt="2025-05-23T16:32:21.706" v="1597" actId="1035"/>
          <ac:spMkLst>
            <pc:docMk/>
            <pc:sldMk cId="1869322492" sldId="435"/>
            <ac:spMk id="31" creationId="{B5E9C985-37A8-D042-772B-CD0D1D709203}"/>
          </ac:spMkLst>
        </pc:spChg>
        <pc:spChg chg="add mod">
          <ac:chgData name="Fitzgerald, Madeline" userId="c680c3b0-1f97-40c6-b06e-80efdcdb988b" providerId="ADAL" clId="{B8BF1D00-457E-4F6C-BAC6-28E7879A2C39}" dt="2025-05-23T16:32:06.691" v="1590" actId="242"/>
          <ac:spMkLst>
            <pc:docMk/>
            <pc:sldMk cId="1869322492" sldId="435"/>
            <ac:spMk id="33" creationId="{D6DC688D-F1E2-F779-E43F-6C08EB1CD750}"/>
          </ac:spMkLst>
        </pc:spChg>
        <pc:spChg chg="add mod">
          <ac:chgData name="Fitzgerald, Madeline" userId="c680c3b0-1f97-40c6-b06e-80efdcdb988b" providerId="ADAL" clId="{B8BF1D00-457E-4F6C-BAC6-28E7879A2C39}" dt="2025-05-23T16:32:06.691" v="1590" actId="242"/>
          <ac:spMkLst>
            <pc:docMk/>
            <pc:sldMk cId="1869322492" sldId="435"/>
            <ac:spMk id="34" creationId="{ED19B075-9371-1007-0195-5DDF4F85114B}"/>
          </ac:spMkLst>
        </pc:spChg>
      </pc:sldChg>
      <pc:sldChg chg="modSp mod">
        <pc:chgData name="Fitzgerald, Madeline" userId="c680c3b0-1f97-40c6-b06e-80efdcdb988b" providerId="ADAL" clId="{B8BF1D00-457E-4F6C-BAC6-28E7879A2C39}" dt="2025-05-23T15:57:45.701" v="1005" actId="27636"/>
        <pc:sldMkLst>
          <pc:docMk/>
          <pc:sldMk cId="658288104" sldId="437"/>
        </pc:sldMkLst>
        <pc:spChg chg="mod">
          <ac:chgData name="Fitzgerald, Madeline" userId="c680c3b0-1f97-40c6-b06e-80efdcdb988b" providerId="ADAL" clId="{B8BF1D00-457E-4F6C-BAC6-28E7879A2C39}" dt="2025-05-23T15:57:45.701" v="1005" actId="27636"/>
          <ac:spMkLst>
            <pc:docMk/>
            <pc:sldMk cId="658288104" sldId="437"/>
            <ac:spMk id="3" creationId="{1F169635-4146-ED1F-292E-C8B16DC78673}"/>
          </ac:spMkLst>
        </pc:spChg>
      </pc:sldChg>
      <pc:sldChg chg="modSp mod">
        <pc:chgData name="Fitzgerald, Madeline" userId="c680c3b0-1f97-40c6-b06e-80efdcdb988b" providerId="ADAL" clId="{B8BF1D00-457E-4F6C-BAC6-28E7879A2C39}" dt="2025-05-23T15:57:45.708" v="1006" actId="27636"/>
        <pc:sldMkLst>
          <pc:docMk/>
          <pc:sldMk cId="3965176274" sldId="438"/>
        </pc:sldMkLst>
      </pc:sldChg>
      <pc:sldChg chg="modSp mod">
        <pc:chgData name="Fitzgerald, Madeline" userId="c680c3b0-1f97-40c6-b06e-80efdcdb988b" providerId="ADAL" clId="{B8BF1D00-457E-4F6C-BAC6-28E7879A2C39}" dt="2025-05-23T15:57:45.717" v="1007" actId="27636"/>
        <pc:sldMkLst>
          <pc:docMk/>
          <pc:sldMk cId="2393856727" sldId="439"/>
        </pc:sldMkLst>
      </pc:sldChg>
      <pc:sldChg chg="modSp mod">
        <pc:chgData name="Fitzgerald, Madeline" userId="c680c3b0-1f97-40c6-b06e-80efdcdb988b" providerId="ADAL" clId="{B8BF1D00-457E-4F6C-BAC6-28E7879A2C39}" dt="2025-05-23T15:57:45.672" v="1002" actId="27636"/>
        <pc:sldMkLst>
          <pc:docMk/>
          <pc:sldMk cId="1381110918" sldId="440"/>
        </pc:sldMkLst>
        <pc:spChg chg="mod">
          <ac:chgData name="Fitzgerald, Madeline" userId="c680c3b0-1f97-40c6-b06e-80efdcdb988b" providerId="ADAL" clId="{B8BF1D00-457E-4F6C-BAC6-28E7879A2C39}" dt="2025-05-23T15:57:45.672" v="1002" actId="27636"/>
          <ac:spMkLst>
            <pc:docMk/>
            <pc:sldMk cId="1381110918" sldId="440"/>
            <ac:spMk id="3" creationId="{63599A60-14F0-54C8-DF1E-C8AEA5FB88E8}"/>
          </ac:spMkLst>
        </pc:spChg>
      </pc:sldChg>
      <pc:sldChg chg="addSp delSp modSp mod">
        <pc:chgData name="Fitzgerald, Madeline" userId="c680c3b0-1f97-40c6-b06e-80efdcdb988b" providerId="ADAL" clId="{B8BF1D00-457E-4F6C-BAC6-28E7879A2C39}" dt="2025-05-28T04:00:59.040" v="3030" actId="20577"/>
        <pc:sldMkLst>
          <pc:docMk/>
          <pc:sldMk cId="835244869" sldId="442"/>
        </pc:sldMkLst>
        <pc:spChg chg="add mod">
          <ac:chgData name="Fitzgerald, Madeline" userId="c680c3b0-1f97-40c6-b06e-80efdcdb988b" providerId="ADAL" clId="{B8BF1D00-457E-4F6C-BAC6-28E7879A2C39}" dt="2025-05-23T16:11:18.296" v="1334"/>
          <ac:spMkLst>
            <pc:docMk/>
            <pc:sldMk cId="835244869" sldId="442"/>
            <ac:spMk id="6" creationId="{62FCCF81-B11D-0CDD-1A19-5E87DBC385FC}"/>
          </ac:spMkLst>
        </pc:spChg>
        <pc:spChg chg="add mod">
          <ac:chgData name="Fitzgerald, Madeline" userId="c680c3b0-1f97-40c6-b06e-80efdcdb988b" providerId="ADAL" clId="{B8BF1D00-457E-4F6C-BAC6-28E7879A2C39}" dt="2025-05-28T03:23:16.586" v="2252" actId="20577"/>
          <ac:spMkLst>
            <pc:docMk/>
            <pc:sldMk cId="835244869" sldId="442"/>
            <ac:spMk id="7" creationId="{178E706F-95FF-1C22-C67A-43C0D91FA826}"/>
          </ac:spMkLst>
        </pc:spChg>
        <pc:spChg chg="add mod ord">
          <ac:chgData name="Fitzgerald, Madeline" userId="c680c3b0-1f97-40c6-b06e-80efdcdb988b" providerId="ADAL" clId="{B8BF1D00-457E-4F6C-BAC6-28E7879A2C39}" dt="2025-05-28T03:48:35.696" v="2890" actId="167"/>
          <ac:spMkLst>
            <pc:docMk/>
            <pc:sldMk cId="835244869" sldId="442"/>
            <ac:spMk id="9" creationId="{D4D3FF51-E1CC-2AF1-1579-BD4C29573889}"/>
          </ac:spMkLst>
        </pc:spChg>
        <pc:spChg chg="add mod ord">
          <ac:chgData name="Fitzgerald, Madeline" userId="c680c3b0-1f97-40c6-b06e-80efdcdb988b" providerId="ADAL" clId="{B8BF1D00-457E-4F6C-BAC6-28E7879A2C39}" dt="2025-05-28T03:49:23.294" v="2903" actId="167"/>
          <ac:spMkLst>
            <pc:docMk/>
            <pc:sldMk cId="835244869" sldId="442"/>
            <ac:spMk id="10" creationId="{CBF770C8-6DDE-0611-3351-1246B82C8658}"/>
          </ac:spMkLst>
        </pc:spChg>
        <pc:spChg chg="add mod ord">
          <ac:chgData name="Fitzgerald, Madeline" userId="c680c3b0-1f97-40c6-b06e-80efdcdb988b" providerId="ADAL" clId="{B8BF1D00-457E-4F6C-BAC6-28E7879A2C39}" dt="2025-05-28T03:49:27.068" v="2904" actId="167"/>
          <ac:spMkLst>
            <pc:docMk/>
            <pc:sldMk cId="835244869" sldId="442"/>
            <ac:spMk id="11" creationId="{258A3C61-5580-CFFC-0E73-8CFCB430414F}"/>
          </ac:spMkLst>
        </pc:spChg>
        <pc:spChg chg="add mod ord">
          <ac:chgData name="Fitzgerald, Madeline" userId="c680c3b0-1f97-40c6-b06e-80efdcdb988b" providerId="ADAL" clId="{B8BF1D00-457E-4F6C-BAC6-28E7879A2C39}" dt="2025-05-28T03:49:36.302" v="2910" actId="1037"/>
          <ac:spMkLst>
            <pc:docMk/>
            <pc:sldMk cId="835244869" sldId="442"/>
            <ac:spMk id="12" creationId="{CAF96251-AF79-3C91-7024-B2BE88E835C2}"/>
          </ac:spMkLst>
        </pc:spChg>
        <pc:spChg chg="add mod ord">
          <ac:chgData name="Fitzgerald, Madeline" userId="c680c3b0-1f97-40c6-b06e-80efdcdb988b" providerId="ADAL" clId="{B8BF1D00-457E-4F6C-BAC6-28E7879A2C39}" dt="2025-05-28T03:49:43.862" v="2915" actId="1037"/>
          <ac:spMkLst>
            <pc:docMk/>
            <pc:sldMk cId="835244869" sldId="442"/>
            <ac:spMk id="13" creationId="{2291604F-450D-75CC-ACA5-0168BDC27265}"/>
          </ac:spMkLst>
        </pc:spChg>
        <pc:graphicFrameChg chg="mod modGraphic">
          <ac:chgData name="Fitzgerald, Madeline" userId="c680c3b0-1f97-40c6-b06e-80efdcdb988b" providerId="ADAL" clId="{B8BF1D00-457E-4F6C-BAC6-28E7879A2C39}" dt="2025-05-28T03:48:16.910" v="2885" actId="207"/>
          <ac:graphicFrameMkLst>
            <pc:docMk/>
            <pc:sldMk cId="835244869" sldId="442"/>
            <ac:graphicFrameMk id="3" creationId="{D7D69FAC-2AC0-86C9-F533-2431E052B23A}"/>
          </ac:graphicFrameMkLst>
        </pc:graphicFrameChg>
        <pc:graphicFrameChg chg="mod">
          <ac:chgData name="Fitzgerald, Madeline" userId="c680c3b0-1f97-40c6-b06e-80efdcdb988b" providerId="ADAL" clId="{B8BF1D00-457E-4F6C-BAC6-28E7879A2C39}" dt="2025-05-28T04:00:59.040" v="3030" actId="20577"/>
          <ac:graphicFrameMkLst>
            <pc:docMk/>
            <pc:sldMk cId="835244869" sldId="442"/>
            <ac:graphicFrameMk id="5" creationId="{54AB6E25-2E44-332F-2682-293F65DDF10E}"/>
          </ac:graphicFrameMkLst>
        </pc:graphicFrameChg>
      </pc:sldChg>
      <pc:sldChg chg="addSp delSp modSp mod">
        <pc:chgData name="Fitzgerald, Madeline" userId="c680c3b0-1f97-40c6-b06e-80efdcdb988b" providerId="ADAL" clId="{B8BF1D00-457E-4F6C-BAC6-28E7879A2C39}" dt="2025-05-28T04:01:28.663" v="3034" actId="20577"/>
        <pc:sldMkLst>
          <pc:docMk/>
          <pc:sldMk cId="1453918737" sldId="444"/>
        </pc:sldMkLst>
        <pc:spChg chg="add mod">
          <ac:chgData name="Fitzgerald, Madeline" userId="c680c3b0-1f97-40c6-b06e-80efdcdb988b" providerId="ADAL" clId="{B8BF1D00-457E-4F6C-BAC6-28E7879A2C39}" dt="2025-05-23T16:11:26.778" v="1339"/>
          <ac:spMkLst>
            <pc:docMk/>
            <pc:sldMk cId="1453918737" sldId="444"/>
            <ac:spMk id="3" creationId="{C29B97D4-354C-6DB6-0566-93E31D87C5D8}"/>
          </ac:spMkLst>
        </pc:spChg>
        <pc:spChg chg="add mod">
          <ac:chgData name="Fitzgerald, Madeline" userId="c680c3b0-1f97-40c6-b06e-80efdcdb988b" providerId="ADAL" clId="{B8BF1D00-457E-4F6C-BAC6-28E7879A2C39}" dt="2025-05-23T16:58:59.122" v="1999" actId="20577"/>
          <ac:spMkLst>
            <pc:docMk/>
            <pc:sldMk cId="1453918737" sldId="444"/>
            <ac:spMk id="11" creationId="{7ABD7347-3B74-124F-9D39-C8D7C4341B26}"/>
          </ac:spMkLst>
        </pc:spChg>
        <pc:spChg chg="add mod">
          <ac:chgData name="Fitzgerald, Madeline" userId="c680c3b0-1f97-40c6-b06e-80efdcdb988b" providerId="ADAL" clId="{B8BF1D00-457E-4F6C-BAC6-28E7879A2C39}" dt="2025-05-23T17:03:22.805" v="2091" actId="1036"/>
          <ac:spMkLst>
            <pc:docMk/>
            <pc:sldMk cId="1453918737" sldId="444"/>
            <ac:spMk id="12" creationId="{E98A0F81-B6CF-0D36-CDD4-0FDF82C8CBE2}"/>
          </ac:spMkLst>
        </pc:spChg>
        <pc:spChg chg="add mod">
          <ac:chgData name="Fitzgerald, Madeline" userId="c680c3b0-1f97-40c6-b06e-80efdcdb988b" providerId="ADAL" clId="{B8BF1D00-457E-4F6C-BAC6-28E7879A2C39}" dt="2025-05-23T17:03:22.805" v="2091" actId="1036"/>
          <ac:spMkLst>
            <pc:docMk/>
            <pc:sldMk cId="1453918737" sldId="444"/>
            <ac:spMk id="13" creationId="{710A83F8-63DC-AD3D-A190-EDDD0B6D1FDF}"/>
          </ac:spMkLst>
        </pc:spChg>
        <pc:graphicFrameChg chg="mod">
          <ac:chgData name="Fitzgerald, Madeline" userId="c680c3b0-1f97-40c6-b06e-80efdcdb988b" providerId="ADAL" clId="{B8BF1D00-457E-4F6C-BAC6-28E7879A2C39}" dt="2025-05-28T04:01:28.663" v="3034" actId="20577"/>
          <ac:graphicFrameMkLst>
            <pc:docMk/>
            <pc:sldMk cId="1453918737" sldId="444"/>
            <ac:graphicFrameMk id="5" creationId="{6386B87C-B2E3-36A2-046B-3C7D986637E3}"/>
          </ac:graphicFrameMkLst>
        </pc:graphicFrameChg>
        <pc:graphicFrameChg chg="mod">
          <ac:chgData name="Fitzgerald, Madeline" userId="c680c3b0-1f97-40c6-b06e-80efdcdb988b" providerId="ADAL" clId="{B8BF1D00-457E-4F6C-BAC6-28E7879A2C39}" dt="2025-05-23T17:03:30.628" v="2093" actId="207"/>
          <ac:graphicFrameMkLst>
            <pc:docMk/>
            <pc:sldMk cId="1453918737" sldId="444"/>
            <ac:graphicFrameMk id="6" creationId="{2AE0D92B-0BC8-99A8-83B6-1356D06A5B7C}"/>
          </ac:graphicFrameMkLst>
        </pc:graphicFrameChg>
      </pc:sldChg>
      <pc:sldChg chg="addSp delSp modSp mod modAnim modCm">
        <pc:chgData name="Fitzgerald, Madeline" userId="c680c3b0-1f97-40c6-b06e-80efdcdb988b" providerId="ADAL" clId="{B8BF1D00-457E-4F6C-BAC6-28E7879A2C39}" dt="2025-05-28T04:02:30.762" v="3042" actId="20577"/>
        <pc:sldMkLst>
          <pc:docMk/>
          <pc:sldMk cId="3521687261" sldId="445"/>
        </pc:sldMkLst>
        <pc:spChg chg="add mod">
          <ac:chgData name="Fitzgerald, Madeline" userId="c680c3b0-1f97-40c6-b06e-80efdcdb988b" providerId="ADAL" clId="{B8BF1D00-457E-4F6C-BAC6-28E7879A2C39}" dt="2025-05-28T03:25:53.568" v="2336" actId="20577"/>
          <ac:spMkLst>
            <pc:docMk/>
            <pc:sldMk cId="3521687261" sldId="445"/>
            <ac:spMk id="7" creationId="{CC6889E6-E8EB-5FE3-11DA-7550E5A5844F}"/>
          </ac:spMkLst>
        </pc:spChg>
        <pc:spChg chg="del mod">
          <ac:chgData name="Fitzgerald, Madeline" userId="c680c3b0-1f97-40c6-b06e-80efdcdb988b" providerId="ADAL" clId="{B8BF1D00-457E-4F6C-BAC6-28E7879A2C39}" dt="2025-05-28T03:38:02.659" v="2567" actId="478"/>
          <ac:spMkLst>
            <pc:docMk/>
            <pc:sldMk cId="3521687261" sldId="445"/>
            <ac:spMk id="9" creationId="{4B8E40ED-597E-DC80-FCE4-01961681A351}"/>
          </ac:spMkLst>
        </pc:spChg>
        <pc:spChg chg="add del mod">
          <ac:chgData name="Fitzgerald, Madeline" userId="c680c3b0-1f97-40c6-b06e-80efdcdb988b" providerId="ADAL" clId="{B8BF1D00-457E-4F6C-BAC6-28E7879A2C39}" dt="2025-05-28T03:25:48.381" v="2318" actId="478"/>
          <ac:spMkLst>
            <pc:docMk/>
            <pc:sldMk cId="3521687261" sldId="445"/>
            <ac:spMk id="10" creationId="{8FFF48E9-1D43-E224-C046-7D893ED58629}"/>
          </ac:spMkLst>
        </pc:spChg>
        <pc:spChg chg="add mod">
          <ac:chgData name="Fitzgerald, Madeline" userId="c680c3b0-1f97-40c6-b06e-80efdcdb988b" providerId="ADAL" clId="{B8BF1D00-457E-4F6C-BAC6-28E7879A2C39}" dt="2025-05-28T03:41:49.730" v="2621" actId="207"/>
          <ac:spMkLst>
            <pc:docMk/>
            <pc:sldMk cId="3521687261" sldId="445"/>
            <ac:spMk id="11" creationId="{09C46A7E-F836-E370-5A31-BA5B5138BDD5}"/>
          </ac:spMkLst>
        </pc:spChg>
        <pc:spChg chg="del mod">
          <ac:chgData name="Fitzgerald, Madeline" userId="c680c3b0-1f97-40c6-b06e-80efdcdb988b" providerId="ADAL" clId="{B8BF1D00-457E-4F6C-BAC6-28E7879A2C39}" dt="2025-05-28T03:25:46.679" v="2317" actId="478"/>
          <ac:spMkLst>
            <pc:docMk/>
            <pc:sldMk cId="3521687261" sldId="445"/>
            <ac:spMk id="12" creationId="{FA373B33-07E7-351C-F760-2A090C8A1EA8}"/>
          </ac:spMkLst>
        </pc:spChg>
        <pc:spChg chg="add mod">
          <ac:chgData name="Fitzgerald, Madeline" userId="c680c3b0-1f97-40c6-b06e-80efdcdb988b" providerId="ADAL" clId="{B8BF1D00-457E-4F6C-BAC6-28E7879A2C39}" dt="2025-05-28T03:41:57.429" v="2623" actId="207"/>
          <ac:spMkLst>
            <pc:docMk/>
            <pc:sldMk cId="3521687261" sldId="445"/>
            <ac:spMk id="13" creationId="{15FD31DD-7C69-43D1-5A0F-ABB8537470C0}"/>
          </ac:spMkLst>
        </pc:spChg>
        <pc:spChg chg="add mod">
          <ac:chgData name="Fitzgerald, Madeline" userId="c680c3b0-1f97-40c6-b06e-80efdcdb988b" providerId="ADAL" clId="{B8BF1D00-457E-4F6C-BAC6-28E7879A2C39}" dt="2025-05-28T03:41:34.877" v="2619" actId="1076"/>
          <ac:spMkLst>
            <pc:docMk/>
            <pc:sldMk cId="3521687261" sldId="445"/>
            <ac:spMk id="14" creationId="{97C7146B-32B8-30DC-2363-363F8E39A488}"/>
          </ac:spMkLst>
        </pc:spChg>
        <pc:spChg chg="add mod">
          <ac:chgData name="Fitzgerald, Madeline" userId="c680c3b0-1f97-40c6-b06e-80efdcdb988b" providerId="ADAL" clId="{B8BF1D00-457E-4F6C-BAC6-28E7879A2C39}" dt="2025-05-28T03:39:40.902" v="2598" actId="14100"/>
          <ac:spMkLst>
            <pc:docMk/>
            <pc:sldMk cId="3521687261" sldId="445"/>
            <ac:spMk id="15" creationId="{4EE7988D-07AE-D23F-713C-9C58E23A3A00}"/>
          </ac:spMkLst>
        </pc:spChg>
        <pc:spChg chg="add mod">
          <ac:chgData name="Fitzgerald, Madeline" userId="c680c3b0-1f97-40c6-b06e-80efdcdb988b" providerId="ADAL" clId="{B8BF1D00-457E-4F6C-BAC6-28E7879A2C39}" dt="2025-05-28T03:41:53.443" v="2622" actId="207"/>
          <ac:spMkLst>
            <pc:docMk/>
            <pc:sldMk cId="3521687261" sldId="445"/>
            <ac:spMk id="16" creationId="{9AC95489-EF5B-C763-6C36-367FFFAD7EA6}"/>
          </ac:spMkLst>
        </pc:spChg>
        <pc:spChg chg="mod">
          <ac:chgData name="Fitzgerald, Madeline" userId="c680c3b0-1f97-40c6-b06e-80efdcdb988b" providerId="ADAL" clId="{B8BF1D00-457E-4F6C-BAC6-28E7879A2C39}" dt="2025-05-28T03:42:11.721" v="2628" actId="404"/>
          <ac:spMkLst>
            <pc:docMk/>
            <pc:sldMk cId="3521687261" sldId="445"/>
            <ac:spMk id="20" creationId="{AD7B549E-E82A-293E-7084-2C3F2A492E6F}"/>
          </ac:spMkLst>
        </pc:spChg>
        <pc:graphicFrameChg chg="mod">
          <ac:chgData name="Fitzgerald, Madeline" userId="c680c3b0-1f97-40c6-b06e-80efdcdb988b" providerId="ADAL" clId="{B8BF1D00-457E-4F6C-BAC6-28E7879A2C39}" dt="2025-05-28T04:02:30.762" v="3042" actId="20577"/>
          <ac:graphicFrameMkLst>
            <pc:docMk/>
            <pc:sldMk cId="3521687261" sldId="445"/>
            <ac:graphicFrameMk id="2" creationId="{91760CEB-A4C7-4377-BA1C-BEE1469EBD6F}"/>
          </ac:graphicFrameMkLst>
        </pc:graphicFrameChg>
        <pc:graphicFrameChg chg="mod modGraphic">
          <ac:chgData name="Fitzgerald, Madeline" userId="c680c3b0-1f97-40c6-b06e-80efdcdb988b" providerId="ADAL" clId="{B8BF1D00-457E-4F6C-BAC6-28E7879A2C39}" dt="2025-05-28T03:41:16.446" v="2616" actId="404"/>
          <ac:graphicFrameMkLst>
            <pc:docMk/>
            <pc:sldMk cId="3521687261" sldId="445"/>
            <ac:graphicFrameMk id="6" creationId="{09F5E84D-8208-1C92-DBEB-D33ACBC0E113}"/>
          </ac:graphicFrameMkLst>
        </pc:graphicFrameChg>
        <pc:extLst>
          <p:ext xmlns:p="http://schemas.openxmlformats.org/presentationml/2006/main" uri="{D6D511B9-2390-475A-947B-AFAB55BFBCF1}">
            <pc226:cmChg xmlns:pc226="http://schemas.microsoft.com/office/powerpoint/2022/06/main/command" chg="mod">
              <pc226:chgData name="Fitzgerald, Madeline" userId="c680c3b0-1f97-40c6-b06e-80efdcdb988b" providerId="ADAL" clId="{B8BF1D00-457E-4F6C-BAC6-28E7879A2C39}" dt="2025-05-28T03:25:46.679" v="2317" actId="478"/>
              <pc2:cmMkLst xmlns:pc2="http://schemas.microsoft.com/office/powerpoint/2019/9/main/command">
                <pc:docMk/>
                <pc:sldMk cId="3521687261" sldId="445"/>
                <pc2:cmMk id="{961DC819-AB9D-4709-BCD8-0C40A9CD7947}"/>
              </pc2:cmMkLst>
            </pc226:cmChg>
          </p:ext>
        </pc:extLst>
      </pc:sldChg>
      <pc:sldChg chg="addSp delSp modSp del mod ord">
        <pc:chgData name="Fitzgerald, Madeline" userId="c680c3b0-1f97-40c6-b06e-80efdcdb988b" providerId="ADAL" clId="{B8BF1D00-457E-4F6C-BAC6-28E7879A2C39}" dt="2025-05-28T03:57:41.384" v="2999" actId="47"/>
        <pc:sldMkLst>
          <pc:docMk/>
          <pc:sldMk cId="654132834" sldId="446"/>
        </pc:sldMkLst>
      </pc:sldChg>
      <pc:sldChg chg="addSp delSp modSp mod">
        <pc:chgData name="Fitzgerald, Madeline" userId="c680c3b0-1f97-40c6-b06e-80efdcdb988b" providerId="ADAL" clId="{B8BF1D00-457E-4F6C-BAC6-28E7879A2C39}" dt="2025-05-28T03:24:23.445" v="2254" actId="1076"/>
        <pc:sldMkLst>
          <pc:docMk/>
          <pc:sldMk cId="1798399341" sldId="447"/>
        </pc:sldMkLst>
        <pc:spChg chg="mod">
          <ac:chgData name="Fitzgerald, Madeline" userId="c680c3b0-1f97-40c6-b06e-80efdcdb988b" providerId="ADAL" clId="{B8BF1D00-457E-4F6C-BAC6-28E7879A2C39}" dt="2025-05-28T03:24:23.445" v="2254" actId="1076"/>
          <ac:spMkLst>
            <pc:docMk/>
            <pc:sldMk cId="1798399341" sldId="447"/>
            <ac:spMk id="5" creationId="{10571E6C-3C55-BCEB-3A03-378D95273961}"/>
          </ac:spMkLst>
        </pc:spChg>
        <pc:spChg chg="add mod">
          <ac:chgData name="Fitzgerald, Madeline" userId="c680c3b0-1f97-40c6-b06e-80efdcdb988b" providerId="ADAL" clId="{B8BF1D00-457E-4F6C-BAC6-28E7879A2C39}" dt="2025-05-23T16:47:07.682" v="1885" actId="255"/>
          <ac:spMkLst>
            <pc:docMk/>
            <pc:sldMk cId="1798399341" sldId="447"/>
            <ac:spMk id="7" creationId="{BFFB1A90-1C1B-C316-62C5-46AAB765B7BB}"/>
          </ac:spMkLst>
        </pc:spChg>
        <pc:spChg chg="add mod">
          <ac:chgData name="Fitzgerald, Madeline" userId="c680c3b0-1f97-40c6-b06e-80efdcdb988b" providerId="ADAL" clId="{B8BF1D00-457E-4F6C-BAC6-28E7879A2C39}" dt="2025-05-23T16:47:07.682" v="1885" actId="255"/>
          <ac:spMkLst>
            <pc:docMk/>
            <pc:sldMk cId="1798399341" sldId="447"/>
            <ac:spMk id="8" creationId="{C35144B2-17D6-2FBC-5119-3C3743951B0D}"/>
          </ac:spMkLst>
        </pc:spChg>
        <pc:spChg chg="add mod">
          <ac:chgData name="Fitzgerald, Madeline" userId="c680c3b0-1f97-40c6-b06e-80efdcdb988b" providerId="ADAL" clId="{B8BF1D00-457E-4F6C-BAC6-28E7879A2C39}" dt="2025-05-23T16:48:53.901" v="1909" actId="12"/>
          <ac:spMkLst>
            <pc:docMk/>
            <pc:sldMk cId="1798399341" sldId="447"/>
            <ac:spMk id="12" creationId="{61FEFFFD-B4A4-FB2D-5530-89CFDAC3D3E5}"/>
          </ac:spMkLst>
        </pc:spChg>
        <pc:spChg chg="add mod">
          <ac:chgData name="Fitzgerald, Madeline" userId="c680c3b0-1f97-40c6-b06e-80efdcdb988b" providerId="ADAL" clId="{B8BF1D00-457E-4F6C-BAC6-28E7879A2C39}" dt="2025-05-23T16:48:43.252" v="1905" actId="12"/>
          <ac:spMkLst>
            <pc:docMk/>
            <pc:sldMk cId="1798399341" sldId="447"/>
            <ac:spMk id="14" creationId="{D6EAE57F-2AAD-7FFD-5DF8-B9489D7F3265}"/>
          </ac:spMkLst>
        </pc:spChg>
        <pc:spChg chg="add mod">
          <ac:chgData name="Fitzgerald, Madeline" userId="c680c3b0-1f97-40c6-b06e-80efdcdb988b" providerId="ADAL" clId="{B8BF1D00-457E-4F6C-BAC6-28E7879A2C39}" dt="2025-05-23T16:48:59.273" v="1911" actId="12"/>
          <ac:spMkLst>
            <pc:docMk/>
            <pc:sldMk cId="1798399341" sldId="447"/>
            <ac:spMk id="15" creationId="{1CBB97F6-F5A4-13AF-9796-5F8F396B9256}"/>
          </ac:spMkLst>
        </pc:spChg>
        <pc:spChg chg="add mod">
          <ac:chgData name="Fitzgerald, Madeline" userId="c680c3b0-1f97-40c6-b06e-80efdcdb988b" providerId="ADAL" clId="{B8BF1D00-457E-4F6C-BAC6-28E7879A2C39}" dt="2025-05-23T16:48:48.213" v="1907" actId="120"/>
          <ac:spMkLst>
            <pc:docMk/>
            <pc:sldMk cId="1798399341" sldId="447"/>
            <ac:spMk id="16" creationId="{747627A9-0169-CF93-6D41-F6760A06390A}"/>
          </ac:spMkLst>
        </pc:spChg>
        <pc:spChg chg="add mod">
          <ac:chgData name="Fitzgerald, Madeline" userId="c680c3b0-1f97-40c6-b06e-80efdcdb988b" providerId="ADAL" clId="{B8BF1D00-457E-4F6C-BAC6-28E7879A2C39}" dt="2025-05-23T16:49:28.215" v="1914" actId="14100"/>
          <ac:spMkLst>
            <pc:docMk/>
            <pc:sldMk cId="1798399341" sldId="447"/>
            <ac:spMk id="17" creationId="{EEB0D8B1-C5BB-8FE6-7843-3E4C195EB112}"/>
          </ac:spMkLst>
        </pc:spChg>
        <pc:picChg chg="mod">
          <ac:chgData name="Fitzgerald, Madeline" userId="c680c3b0-1f97-40c6-b06e-80efdcdb988b" providerId="ADAL" clId="{B8BF1D00-457E-4F6C-BAC6-28E7879A2C39}" dt="2025-05-28T03:24:16.627" v="2253" actId="14100"/>
          <ac:picMkLst>
            <pc:docMk/>
            <pc:sldMk cId="1798399341" sldId="447"/>
            <ac:picMk id="4" creationId="{F374E817-663C-7B2E-6C2A-A624AF949E4E}"/>
          </ac:picMkLst>
        </pc:picChg>
        <pc:picChg chg="mod">
          <ac:chgData name="Fitzgerald, Madeline" userId="c680c3b0-1f97-40c6-b06e-80efdcdb988b" providerId="ADAL" clId="{B8BF1D00-457E-4F6C-BAC6-28E7879A2C39}" dt="2025-05-23T16:44:32.428" v="1859" actId="1036"/>
          <ac:picMkLst>
            <pc:docMk/>
            <pc:sldMk cId="1798399341" sldId="447"/>
            <ac:picMk id="9" creationId="{22EFACEB-49C6-FFA9-16DA-20DDF830DCE5}"/>
          </ac:picMkLst>
        </pc:picChg>
      </pc:sldChg>
      <pc:sldChg chg="addSp delSp modSp add mod">
        <pc:chgData name="Fitzgerald, Madeline" userId="c680c3b0-1f97-40c6-b06e-80efdcdb988b" providerId="ADAL" clId="{B8BF1D00-457E-4F6C-BAC6-28E7879A2C39}" dt="2025-05-28T03:59:29.192" v="3015" actId="2711"/>
        <pc:sldMkLst>
          <pc:docMk/>
          <pc:sldMk cId="3880380257" sldId="451"/>
        </pc:sldMkLst>
        <pc:spChg chg="add mod">
          <ac:chgData name="Fitzgerald, Madeline" userId="c680c3b0-1f97-40c6-b06e-80efdcdb988b" providerId="ADAL" clId="{B8BF1D00-457E-4F6C-BAC6-28E7879A2C39}" dt="2025-05-23T16:03:42.655" v="1187"/>
          <ac:spMkLst>
            <pc:docMk/>
            <pc:sldMk cId="3880380257" sldId="451"/>
            <ac:spMk id="2" creationId="{F13CCFB8-D300-7EE4-D565-5BF0A6C0F8F7}"/>
          </ac:spMkLst>
        </pc:spChg>
        <pc:spChg chg="mod">
          <ac:chgData name="Fitzgerald, Madeline" userId="c680c3b0-1f97-40c6-b06e-80efdcdb988b" providerId="ADAL" clId="{B8BF1D00-457E-4F6C-BAC6-28E7879A2C39}" dt="2025-05-20T19:22:28.196" v="115" actId="403"/>
          <ac:spMkLst>
            <pc:docMk/>
            <pc:sldMk cId="3880380257" sldId="451"/>
            <ac:spMk id="4" creationId="{4A4A2A84-490D-5498-E255-64D3B7AB4C56}"/>
          </ac:spMkLst>
        </pc:spChg>
        <pc:spChg chg="mod">
          <ac:chgData name="Fitzgerald, Madeline" userId="c680c3b0-1f97-40c6-b06e-80efdcdb988b" providerId="ADAL" clId="{B8BF1D00-457E-4F6C-BAC6-28E7879A2C39}" dt="2025-05-20T19:22:51.631" v="121" actId="113"/>
          <ac:spMkLst>
            <pc:docMk/>
            <pc:sldMk cId="3880380257" sldId="451"/>
            <ac:spMk id="5" creationId="{A39C5115-470F-265F-68A5-2CA0FE9340E5}"/>
          </ac:spMkLst>
        </pc:spChg>
        <pc:spChg chg="mod">
          <ac:chgData name="Fitzgerald, Madeline" userId="c680c3b0-1f97-40c6-b06e-80efdcdb988b" providerId="ADAL" clId="{B8BF1D00-457E-4F6C-BAC6-28E7879A2C39}" dt="2025-05-20T19:21:41.646" v="83" actId="1036"/>
          <ac:spMkLst>
            <pc:docMk/>
            <pc:sldMk cId="3880380257" sldId="451"/>
            <ac:spMk id="6" creationId="{111D2E18-50BC-E88D-83F7-BE21EF2B037E}"/>
          </ac:spMkLst>
        </pc:spChg>
        <pc:spChg chg="mod">
          <ac:chgData name="Fitzgerald, Madeline" userId="c680c3b0-1f97-40c6-b06e-80efdcdb988b" providerId="ADAL" clId="{B8BF1D00-457E-4F6C-BAC6-28E7879A2C39}" dt="2025-05-20T19:21:47.608" v="107" actId="1035"/>
          <ac:spMkLst>
            <pc:docMk/>
            <pc:sldMk cId="3880380257" sldId="451"/>
            <ac:spMk id="12" creationId="{8E889EDF-93D9-79C5-CF9D-B7DA2CE04C29}"/>
          </ac:spMkLst>
        </pc:spChg>
        <pc:spChg chg="mod">
          <ac:chgData name="Fitzgerald, Madeline" userId="c680c3b0-1f97-40c6-b06e-80efdcdb988b" providerId="ADAL" clId="{B8BF1D00-457E-4F6C-BAC6-28E7879A2C39}" dt="2025-05-20T19:21:30.412" v="58" actId="14100"/>
          <ac:spMkLst>
            <pc:docMk/>
            <pc:sldMk cId="3880380257" sldId="451"/>
            <ac:spMk id="13" creationId="{A1B5BC71-F44F-27E4-0D40-9A86B96CCA0B}"/>
          </ac:spMkLst>
        </pc:spChg>
        <pc:spChg chg="mod">
          <ac:chgData name="Fitzgerald, Madeline" userId="c680c3b0-1f97-40c6-b06e-80efdcdb988b" providerId="ADAL" clId="{B8BF1D00-457E-4F6C-BAC6-28E7879A2C39}" dt="2025-05-20T19:21:54.181" v="109" actId="14100"/>
          <ac:spMkLst>
            <pc:docMk/>
            <pc:sldMk cId="3880380257" sldId="451"/>
            <ac:spMk id="14" creationId="{55AB91F0-FB62-F45D-1FA7-DB9F4D5644B4}"/>
          </ac:spMkLst>
        </pc:spChg>
        <pc:spChg chg="mod">
          <ac:chgData name="Fitzgerald, Madeline" userId="c680c3b0-1f97-40c6-b06e-80efdcdb988b" providerId="ADAL" clId="{B8BF1D00-457E-4F6C-BAC6-28E7879A2C39}" dt="2025-05-20T19:21:57.869" v="110" actId="14100"/>
          <ac:spMkLst>
            <pc:docMk/>
            <pc:sldMk cId="3880380257" sldId="451"/>
            <ac:spMk id="15" creationId="{8D5D3466-2F38-B013-D9A6-442FEBEE364E}"/>
          </ac:spMkLst>
        </pc:spChg>
        <pc:spChg chg="mod">
          <ac:chgData name="Fitzgerald, Madeline" userId="c680c3b0-1f97-40c6-b06e-80efdcdb988b" providerId="ADAL" clId="{B8BF1D00-457E-4F6C-BAC6-28E7879A2C39}" dt="2025-05-20T19:22:02.998" v="111" actId="14100"/>
          <ac:spMkLst>
            <pc:docMk/>
            <pc:sldMk cId="3880380257" sldId="451"/>
            <ac:spMk id="17" creationId="{2203C8DF-8218-5B43-299B-2CD134638B79}"/>
          </ac:spMkLst>
        </pc:spChg>
        <pc:spChg chg="mod">
          <ac:chgData name="Fitzgerald, Madeline" userId="c680c3b0-1f97-40c6-b06e-80efdcdb988b" providerId="ADAL" clId="{B8BF1D00-457E-4F6C-BAC6-28E7879A2C39}" dt="2025-05-20T19:22:02.998" v="111" actId="14100"/>
          <ac:spMkLst>
            <pc:docMk/>
            <pc:sldMk cId="3880380257" sldId="451"/>
            <ac:spMk id="18" creationId="{8A2B48B7-C75B-5BC2-9864-D6F7BA1C4F83}"/>
          </ac:spMkLst>
        </pc:spChg>
        <pc:spChg chg="mod">
          <ac:chgData name="Fitzgerald, Madeline" userId="c680c3b0-1f97-40c6-b06e-80efdcdb988b" providerId="ADAL" clId="{B8BF1D00-457E-4F6C-BAC6-28E7879A2C39}" dt="2025-05-20T19:22:02.998" v="111" actId="14100"/>
          <ac:spMkLst>
            <pc:docMk/>
            <pc:sldMk cId="3880380257" sldId="451"/>
            <ac:spMk id="22" creationId="{2E6744AA-77B1-6EFE-328B-C396DA44C7D5}"/>
          </ac:spMkLst>
        </pc:spChg>
        <pc:graphicFrameChg chg="mod">
          <ac:chgData name="Fitzgerald, Madeline" userId="c680c3b0-1f97-40c6-b06e-80efdcdb988b" providerId="ADAL" clId="{B8BF1D00-457E-4F6C-BAC6-28E7879A2C39}" dt="2025-05-28T03:59:29.192" v="3015" actId="2711"/>
          <ac:graphicFrameMkLst>
            <pc:docMk/>
            <pc:sldMk cId="3880380257" sldId="451"/>
            <ac:graphicFrameMk id="16" creationId="{1946CD3C-4EE8-0B9F-5A22-E698A21696C3}"/>
          </ac:graphicFrameMkLst>
        </pc:graphicFrameChg>
      </pc:sldChg>
      <pc:sldChg chg="addSp delSp modSp del mod">
        <pc:chgData name="Fitzgerald, Madeline" userId="c680c3b0-1f97-40c6-b06e-80efdcdb988b" providerId="ADAL" clId="{B8BF1D00-457E-4F6C-BAC6-28E7879A2C39}" dt="2025-05-20T19:28:01.212" v="188" actId="47"/>
        <pc:sldMkLst>
          <pc:docMk/>
          <pc:sldMk cId="443513931" sldId="452"/>
        </pc:sldMkLst>
      </pc:sldChg>
      <pc:sldChg chg="addSp delSp modSp del mod">
        <pc:chgData name="Fitzgerald, Madeline" userId="c680c3b0-1f97-40c6-b06e-80efdcdb988b" providerId="ADAL" clId="{B8BF1D00-457E-4F6C-BAC6-28E7879A2C39}" dt="2025-05-23T15:53:31.125" v="981" actId="47"/>
        <pc:sldMkLst>
          <pc:docMk/>
          <pc:sldMk cId="2617212297" sldId="453"/>
        </pc:sldMkLst>
      </pc:sldChg>
      <pc:sldChg chg="addSp delSp modSp mod">
        <pc:chgData name="Fitzgerald, Madeline" userId="c680c3b0-1f97-40c6-b06e-80efdcdb988b" providerId="ADAL" clId="{B8BF1D00-457E-4F6C-BAC6-28E7879A2C39}" dt="2025-05-28T04:02:22.988" v="3040" actId="20577"/>
        <pc:sldMkLst>
          <pc:docMk/>
          <pc:sldMk cId="3625720286" sldId="454"/>
        </pc:sldMkLst>
        <pc:spChg chg="del mod">
          <ac:chgData name="Fitzgerald, Madeline" userId="c680c3b0-1f97-40c6-b06e-80efdcdb988b" providerId="ADAL" clId="{B8BF1D00-457E-4F6C-BAC6-28E7879A2C39}" dt="2025-05-28T03:27:18.288" v="2391" actId="478"/>
          <ac:spMkLst>
            <pc:docMk/>
            <pc:sldMk cId="3625720286" sldId="454"/>
            <ac:spMk id="3" creationId="{788EAB4B-9206-FD3E-DC39-2364C5D88EB3}"/>
          </ac:spMkLst>
        </pc:spChg>
        <pc:spChg chg="add mod">
          <ac:chgData name="Fitzgerald, Madeline" userId="c680c3b0-1f97-40c6-b06e-80efdcdb988b" providerId="ADAL" clId="{B8BF1D00-457E-4F6C-BAC6-28E7879A2C39}" dt="2025-05-28T03:25:27.131" v="2313" actId="14100"/>
          <ac:spMkLst>
            <pc:docMk/>
            <pc:sldMk cId="3625720286" sldId="454"/>
            <ac:spMk id="7" creationId="{661F35FB-345A-88F9-B041-28104B1286CB}"/>
          </ac:spMkLst>
        </pc:spChg>
        <pc:spChg chg="del mod">
          <ac:chgData name="Fitzgerald, Madeline" userId="c680c3b0-1f97-40c6-b06e-80efdcdb988b" providerId="ADAL" clId="{B8BF1D00-457E-4F6C-BAC6-28E7879A2C39}" dt="2025-05-28T03:25:29.045" v="2314" actId="478"/>
          <ac:spMkLst>
            <pc:docMk/>
            <pc:sldMk cId="3625720286" sldId="454"/>
            <ac:spMk id="8" creationId="{12119FA5-F7F6-8428-2F09-B20CEC94BE8B}"/>
          </ac:spMkLst>
        </pc:spChg>
        <pc:spChg chg="add mod">
          <ac:chgData name="Fitzgerald, Madeline" userId="c680c3b0-1f97-40c6-b06e-80efdcdb988b" providerId="ADAL" clId="{B8BF1D00-457E-4F6C-BAC6-28E7879A2C39}" dt="2025-05-28T03:29:39.941" v="2409" actId="14100"/>
          <ac:spMkLst>
            <pc:docMk/>
            <pc:sldMk cId="3625720286" sldId="454"/>
            <ac:spMk id="9" creationId="{752614E3-C229-CF98-DF86-D0EAF750B867}"/>
          </ac:spMkLst>
        </pc:spChg>
        <pc:spChg chg="del">
          <ac:chgData name="Fitzgerald, Madeline" userId="c680c3b0-1f97-40c6-b06e-80efdcdb988b" providerId="ADAL" clId="{B8BF1D00-457E-4F6C-BAC6-28E7879A2C39}" dt="2025-05-28T03:35:01.310" v="2494" actId="478"/>
          <ac:spMkLst>
            <pc:docMk/>
            <pc:sldMk cId="3625720286" sldId="454"/>
            <ac:spMk id="16" creationId="{744DD936-060E-C38D-36E2-B0C2426B3F96}"/>
          </ac:spMkLst>
        </pc:spChg>
        <pc:graphicFrameChg chg="mod">
          <ac:chgData name="Fitzgerald, Madeline" userId="c680c3b0-1f97-40c6-b06e-80efdcdb988b" providerId="ADAL" clId="{B8BF1D00-457E-4F6C-BAC6-28E7879A2C39}" dt="2025-05-28T04:02:22.988" v="3040" actId="20577"/>
          <ac:graphicFrameMkLst>
            <pc:docMk/>
            <pc:sldMk cId="3625720286" sldId="454"/>
            <ac:graphicFrameMk id="2" creationId="{A74947E8-2478-76DF-FCF5-10B6D4036E03}"/>
          </ac:graphicFrameMkLst>
        </pc:graphicFrameChg>
        <pc:graphicFrameChg chg="mod modGraphic">
          <ac:chgData name="Fitzgerald, Madeline" userId="c680c3b0-1f97-40c6-b06e-80efdcdb988b" providerId="ADAL" clId="{B8BF1D00-457E-4F6C-BAC6-28E7879A2C39}" dt="2025-05-28T03:35:08.333" v="2495" actId="1076"/>
          <ac:graphicFrameMkLst>
            <pc:docMk/>
            <pc:sldMk cId="3625720286" sldId="454"/>
            <ac:graphicFrameMk id="6" creationId="{53A82C1B-CEBF-CC67-CBA2-9FC777AFA391}"/>
          </ac:graphicFrameMkLst>
        </pc:graphicFrameChg>
        <pc:graphicFrameChg chg="mod ord modGraphic">
          <ac:chgData name="Fitzgerald, Madeline" userId="c680c3b0-1f97-40c6-b06e-80efdcdb988b" providerId="ADAL" clId="{B8BF1D00-457E-4F6C-BAC6-28E7879A2C39}" dt="2025-05-28T03:30:42.520" v="2419" actId="14100"/>
          <ac:graphicFrameMkLst>
            <pc:docMk/>
            <pc:sldMk cId="3625720286" sldId="454"/>
            <ac:graphicFrameMk id="15" creationId="{79FC1FCC-26C0-A792-7F28-A3C37567C6C6}"/>
          </ac:graphicFrameMkLst>
        </pc:graphicFrameChg>
      </pc:sldChg>
      <pc:sldChg chg="addSp delSp modSp mod">
        <pc:chgData name="Fitzgerald, Madeline" userId="c680c3b0-1f97-40c6-b06e-80efdcdb988b" providerId="ADAL" clId="{B8BF1D00-457E-4F6C-BAC6-28E7879A2C39}" dt="2025-05-23T16:11:29.827" v="1340"/>
        <pc:sldMkLst>
          <pc:docMk/>
          <pc:sldMk cId="3006985642" sldId="455"/>
        </pc:sldMkLst>
        <pc:spChg chg="add mod">
          <ac:chgData name="Fitzgerald, Madeline" userId="c680c3b0-1f97-40c6-b06e-80efdcdb988b" providerId="ADAL" clId="{B8BF1D00-457E-4F6C-BAC6-28E7879A2C39}" dt="2025-05-23T16:11:29.827" v="1340"/>
          <ac:spMkLst>
            <pc:docMk/>
            <pc:sldMk cId="3006985642" sldId="455"/>
            <ac:spMk id="6" creationId="{D86BF492-9E96-FD22-6F15-46BD93E0AFD7}"/>
          </ac:spMkLst>
        </pc:spChg>
      </pc:sldChg>
      <pc:sldChg chg="addSp delSp modSp mod">
        <pc:chgData name="Fitzgerald, Madeline" userId="c680c3b0-1f97-40c6-b06e-80efdcdb988b" providerId="ADAL" clId="{B8BF1D00-457E-4F6C-BAC6-28E7879A2C39}" dt="2025-05-23T16:11:31.545" v="1341"/>
        <pc:sldMkLst>
          <pc:docMk/>
          <pc:sldMk cId="2013380474" sldId="456"/>
        </pc:sldMkLst>
        <pc:spChg chg="add mod">
          <ac:chgData name="Fitzgerald, Madeline" userId="c680c3b0-1f97-40c6-b06e-80efdcdb988b" providerId="ADAL" clId="{B8BF1D00-457E-4F6C-BAC6-28E7879A2C39}" dt="2025-05-23T16:11:31.545" v="1341"/>
          <ac:spMkLst>
            <pc:docMk/>
            <pc:sldMk cId="2013380474" sldId="456"/>
            <ac:spMk id="3" creationId="{06685C57-8112-2CEC-F987-0B5D01CEFC98}"/>
          </ac:spMkLst>
        </pc:spChg>
      </pc:sldChg>
      <pc:sldChg chg="addSp delSp modSp mod">
        <pc:chgData name="Fitzgerald, Madeline" userId="c680c3b0-1f97-40c6-b06e-80efdcdb988b" providerId="ADAL" clId="{B8BF1D00-457E-4F6C-BAC6-28E7879A2C39}" dt="2025-05-23T16:56:09.831" v="1962" actId="14100"/>
        <pc:sldMkLst>
          <pc:docMk/>
          <pc:sldMk cId="197560797" sldId="457"/>
        </pc:sldMkLst>
        <pc:spChg chg="add mod">
          <ac:chgData name="Fitzgerald, Madeline" userId="c680c3b0-1f97-40c6-b06e-80efdcdb988b" providerId="ADAL" clId="{B8BF1D00-457E-4F6C-BAC6-28E7879A2C39}" dt="2025-05-23T16:11:21.136" v="1336"/>
          <ac:spMkLst>
            <pc:docMk/>
            <pc:sldMk cId="197560797" sldId="457"/>
            <ac:spMk id="4" creationId="{6B927F50-1460-D5A3-C1E1-E506EB0CC5E5}"/>
          </ac:spMkLst>
        </pc:spChg>
        <pc:spChg chg="add mod">
          <ac:chgData name="Fitzgerald, Madeline" userId="c680c3b0-1f97-40c6-b06e-80efdcdb988b" providerId="ADAL" clId="{B8BF1D00-457E-4F6C-BAC6-28E7879A2C39}" dt="2025-05-23T16:40:48.475" v="1777" actId="20577"/>
          <ac:spMkLst>
            <pc:docMk/>
            <pc:sldMk cId="197560797" sldId="457"/>
            <ac:spMk id="6" creationId="{D30FCE85-7638-9D7B-21AC-1AB59C4AD95D}"/>
          </ac:spMkLst>
        </pc:spChg>
        <pc:spChg chg="add mod">
          <ac:chgData name="Fitzgerald, Madeline" userId="c680c3b0-1f97-40c6-b06e-80efdcdb988b" providerId="ADAL" clId="{B8BF1D00-457E-4F6C-BAC6-28E7879A2C39}" dt="2025-05-23T16:55:59.529" v="1960" actId="1076"/>
          <ac:spMkLst>
            <pc:docMk/>
            <pc:sldMk cId="197560797" sldId="457"/>
            <ac:spMk id="11" creationId="{1BE36E72-6C85-C1B5-EDC3-57195876824B}"/>
          </ac:spMkLst>
        </pc:spChg>
        <pc:graphicFrameChg chg="mod modGraphic">
          <ac:chgData name="Fitzgerald, Madeline" userId="c680c3b0-1f97-40c6-b06e-80efdcdb988b" providerId="ADAL" clId="{B8BF1D00-457E-4F6C-BAC6-28E7879A2C39}" dt="2025-05-23T16:56:09.831" v="1962" actId="14100"/>
          <ac:graphicFrameMkLst>
            <pc:docMk/>
            <pc:sldMk cId="197560797" sldId="457"/>
            <ac:graphicFrameMk id="9" creationId="{5D934A52-665E-08E1-CD39-9A8C877220AD}"/>
          </ac:graphicFrameMkLst>
        </pc:graphicFrameChg>
      </pc:sldChg>
      <pc:sldChg chg="addSp delSp modSp del mod">
        <pc:chgData name="Fitzgerald, Madeline" userId="c680c3b0-1f97-40c6-b06e-80efdcdb988b" providerId="ADAL" clId="{B8BF1D00-457E-4F6C-BAC6-28E7879A2C39}" dt="2025-05-23T16:56:22.806" v="1963" actId="47"/>
        <pc:sldMkLst>
          <pc:docMk/>
          <pc:sldMk cId="3254969896" sldId="458"/>
        </pc:sldMkLst>
      </pc:sldChg>
      <pc:sldChg chg="new del">
        <pc:chgData name="Fitzgerald, Madeline" userId="c680c3b0-1f97-40c6-b06e-80efdcdb988b" providerId="ADAL" clId="{B8BF1D00-457E-4F6C-BAC6-28E7879A2C39}" dt="2025-05-20T19:17:26.963" v="27" actId="2696"/>
        <pc:sldMkLst>
          <pc:docMk/>
          <pc:sldMk cId="48966543" sldId="461"/>
        </pc:sldMkLst>
      </pc:sldChg>
      <pc:sldChg chg="addSp delSp modSp add mod">
        <pc:chgData name="Fitzgerald, Madeline" userId="c680c3b0-1f97-40c6-b06e-80efdcdb988b" providerId="ADAL" clId="{B8BF1D00-457E-4F6C-BAC6-28E7879A2C39}" dt="2025-05-28T03:59:44.631" v="3017" actId="20577"/>
        <pc:sldMkLst>
          <pc:docMk/>
          <pc:sldMk cId="274071638" sldId="461"/>
        </pc:sldMkLst>
        <pc:spChg chg="mod">
          <ac:chgData name="Fitzgerald, Madeline" userId="c680c3b0-1f97-40c6-b06e-80efdcdb988b" providerId="ADAL" clId="{B8BF1D00-457E-4F6C-BAC6-28E7879A2C39}" dt="2025-05-20T19:26:01.855" v="166"/>
          <ac:spMkLst>
            <pc:docMk/>
            <pc:sldMk cId="274071638" sldId="461"/>
            <ac:spMk id="2" creationId="{87D675E4-420C-77E6-33B1-8A7C32B70E52}"/>
          </ac:spMkLst>
        </pc:spChg>
        <pc:spChg chg="mod">
          <ac:chgData name="Fitzgerald, Madeline" userId="c680c3b0-1f97-40c6-b06e-80efdcdb988b" providerId="ADAL" clId="{B8BF1D00-457E-4F6C-BAC6-28E7879A2C39}" dt="2025-05-20T19:26:18.722" v="167"/>
          <ac:spMkLst>
            <pc:docMk/>
            <pc:sldMk cId="274071638" sldId="461"/>
            <ac:spMk id="4" creationId="{13BB2741-92FF-CED6-58F3-9C352CCB122E}"/>
          </ac:spMkLst>
        </pc:spChg>
        <pc:spChg chg="mod">
          <ac:chgData name="Fitzgerald, Madeline" userId="c680c3b0-1f97-40c6-b06e-80efdcdb988b" providerId="ADAL" clId="{B8BF1D00-457E-4F6C-BAC6-28E7879A2C39}" dt="2025-05-20T19:26:28.624" v="170"/>
          <ac:spMkLst>
            <pc:docMk/>
            <pc:sldMk cId="274071638" sldId="461"/>
            <ac:spMk id="7" creationId="{A97FDE36-F010-79B9-04E4-924FBA593684}"/>
          </ac:spMkLst>
        </pc:spChg>
        <pc:spChg chg="mod">
          <ac:chgData name="Fitzgerald, Madeline" userId="c680c3b0-1f97-40c6-b06e-80efdcdb988b" providerId="ADAL" clId="{B8BF1D00-457E-4F6C-BAC6-28E7879A2C39}" dt="2025-05-20T19:26:37.733" v="171"/>
          <ac:spMkLst>
            <pc:docMk/>
            <pc:sldMk cId="274071638" sldId="461"/>
            <ac:spMk id="20" creationId="{1ECFAF80-3C96-05BA-271B-F10CDAB8AC13}"/>
          </ac:spMkLst>
        </pc:spChg>
        <pc:spChg chg="mod">
          <ac:chgData name="Fitzgerald, Madeline" userId="c680c3b0-1f97-40c6-b06e-80efdcdb988b" providerId="ADAL" clId="{B8BF1D00-457E-4F6C-BAC6-28E7879A2C39}" dt="2025-05-20T19:26:45.232" v="172"/>
          <ac:spMkLst>
            <pc:docMk/>
            <pc:sldMk cId="274071638" sldId="461"/>
            <ac:spMk id="23" creationId="{15822E3D-2C1A-280B-A2E8-7FECE2BCCFA4}"/>
          </ac:spMkLst>
        </pc:spChg>
        <pc:spChg chg="mod">
          <ac:chgData name="Fitzgerald, Madeline" userId="c680c3b0-1f97-40c6-b06e-80efdcdb988b" providerId="ADAL" clId="{B8BF1D00-457E-4F6C-BAC6-28E7879A2C39}" dt="2025-05-20T19:26:54.646" v="173"/>
          <ac:spMkLst>
            <pc:docMk/>
            <pc:sldMk cId="274071638" sldId="461"/>
            <ac:spMk id="25" creationId="{E7F6F311-5442-C455-FC11-AF1C3B34BB20}"/>
          </ac:spMkLst>
        </pc:spChg>
        <pc:spChg chg="mod">
          <ac:chgData name="Fitzgerald, Madeline" userId="c680c3b0-1f97-40c6-b06e-80efdcdb988b" providerId="ADAL" clId="{B8BF1D00-457E-4F6C-BAC6-28E7879A2C39}" dt="2025-05-20T19:27:02.288" v="174"/>
          <ac:spMkLst>
            <pc:docMk/>
            <pc:sldMk cId="274071638" sldId="461"/>
            <ac:spMk id="26" creationId="{452B0014-4DAC-DBDC-3DE0-9B161D4D67E8}"/>
          </ac:spMkLst>
        </pc:spChg>
        <pc:spChg chg="mod">
          <ac:chgData name="Fitzgerald, Madeline" userId="c680c3b0-1f97-40c6-b06e-80efdcdb988b" providerId="ADAL" clId="{B8BF1D00-457E-4F6C-BAC6-28E7879A2C39}" dt="2025-05-20T19:27:10.691" v="175"/>
          <ac:spMkLst>
            <pc:docMk/>
            <pc:sldMk cId="274071638" sldId="461"/>
            <ac:spMk id="27" creationId="{56090AFE-88CA-BF2E-7827-9C34123AE7FE}"/>
          </ac:spMkLst>
        </pc:spChg>
        <pc:spChg chg="mod">
          <ac:chgData name="Fitzgerald, Madeline" userId="c680c3b0-1f97-40c6-b06e-80efdcdb988b" providerId="ADAL" clId="{B8BF1D00-457E-4F6C-BAC6-28E7879A2C39}" dt="2025-05-20T19:27:18.515" v="176"/>
          <ac:spMkLst>
            <pc:docMk/>
            <pc:sldMk cId="274071638" sldId="461"/>
            <ac:spMk id="28" creationId="{684662BF-4AB4-8B20-E558-86C1941AD480}"/>
          </ac:spMkLst>
        </pc:spChg>
        <pc:spChg chg="add del mod">
          <ac:chgData name="Fitzgerald, Madeline" userId="c680c3b0-1f97-40c6-b06e-80efdcdb988b" providerId="ADAL" clId="{B8BF1D00-457E-4F6C-BAC6-28E7879A2C39}" dt="2025-05-20T19:32:23.743" v="251" actId="207"/>
          <ac:spMkLst>
            <pc:docMk/>
            <pc:sldMk cId="274071638" sldId="461"/>
            <ac:spMk id="134" creationId="{F860FDF0-6747-B22F-F322-39D248EAD27C}"/>
          </ac:spMkLst>
        </pc:spChg>
        <pc:spChg chg="mod">
          <ac:chgData name="Fitzgerald, Madeline" userId="c680c3b0-1f97-40c6-b06e-80efdcdb988b" providerId="ADAL" clId="{B8BF1D00-457E-4F6C-BAC6-28E7879A2C39}" dt="2025-05-28T03:07:26.723" v="2106" actId="1076"/>
          <ac:spMkLst>
            <pc:docMk/>
            <pc:sldMk cId="274071638" sldId="461"/>
            <ac:spMk id="135" creationId="{5847D089-3C4B-66D3-0763-A27F296A7ACF}"/>
          </ac:spMkLst>
        </pc:spChg>
        <pc:spChg chg="mod">
          <ac:chgData name="Fitzgerald, Madeline" userId="c680c3b0-1f97-40c6-b06e-80efdcdb988b" providerId="ADAL" clId="{B8BF1D00-457E-4F6C-BAC6-28E7879A2C39}" dt="2025-05-20T19:32:31.162" v="253" actId="207"/>
          <ac:spMkLst>
            <pc:docMk/>
            <pc:sldMk cId="274071638" sldId="461"/>
            <ac:spMk id="136" creationId="{2F6C13DE-3CC5-4569-BC05-4BD9D421B7D6}"/>
          </ac:spMkLst>
        </pc:spChg>
        <pc:spChg chg="add del mod">
          <ac:chgData name="Fitzgerald, Madeline" userId="c680c3b0-1f97-40c6-b06e-80efdcdb988b" providerId="ADAL" clId="{B8BF1D00-457E-4F6C-BAC6-28E7879A2C39}" dt="2025-05-20T19:32:35.917" v="254" actId="207"/>
          <ac:spMkLst>
            <pc:docMk/>
            <pc:sldMk cId="274071638" sldId="461"/>
            <ac:spMk id="137" creationId="{75BD8667-4A2C-9083-5987-AE3F1AFFB00B}"/>
          </ac:spMkLst>
        </pc:spChg>
        <pc:spChg chg="mod">
          <ac:chgData name="Fitzgerald, Madeline" userId="c680c3b0-1f97-40c6-b06e-80efdcdb988b" providerId="ADAL" clId="{B8BF1D00-457E-4F6C-BAC6-28E7879A2C39}" dt="2025-05-23T16:03:40.077" v="1186" actId="14100"/>
          <ac:spMkLst>
            <pc:docMk/>
            <pc:sldMk cId="274071638" sldId="461"/>
            <ac:spMk id="146" creationId="{9E15BC6F-2949-B000-8AF6-5A650D5A57F5}"/>
          </ac:spMkLst>
        </pc:spChg>
        <pc:graphicFrameChg chg="mod">
          <ac:chgData name="Fitzgerald, Madeline" userId="c680c3b0-1f97-40c6-b06e-80efdcdb988b" providerId="ADAL" clId="{B8BF1D00-457E-4F6C-BAC6-28E7879A2C39}" dt="2025-05-28T03:59:44.631" v="3017" actId="20577"/>
          <ac:graphicFrameMkLst>
            <pc:docMk/>
            <pc:sldMk cId="274071638" sldId="461"/>
            <ac:graphicFrameMk id="3" creationId="{EA2E1740-B259-8488-C607-6886D5416F26}"/>
          </ac:graphicFrameMkLst>
        </pc:graphicFrameChg>
        <pc:picChg chg="mod">
          <ac:chgData name="Fitzgerald, Madeline" userId="c680c3b0-1f97-40c6-b06e-80efdcdb988b" providerId="ADAL" clId="{B8BF1D00-457E-4F6C-BAC6-28E7879A2C39}" dt="2025-05-28T03:07:32.602" v="2107" actId="1076"/>
          <ac:picMkLst>
            <pc:docMk/>
            <pc:sldMk cId="274071638" sldId="461"/>
            <ac:picMk id="62" creationId="{3F0E77E0-38F9-FB03-450D-67EE63C66670}"/>
          </ac:picMkLst>
        </pc:picChg>
        <pc:picChg chg="mod">
          <ac:chgData name="Fitzgerald, Madeline" userId="c680c3b0-1f97-40c6-b06e-80efdcdb988b" providerId="ADAL" clId="{B8BF1D00-457E-4F6C-BAC6-28E7879A2C39}" dt="2025-05-28T03:07:37.878" v="2108" actId="1076"/>
          <ac:picMkLst>
            <pc:docMk/>
            <pc:sldMk cId="274071638" sldId="461"/>
            <ac:picMk id="128" creationId="{9241EDF7-217E-33BE-47E4-7BB6EA7DDE9D}"/>
          </ac:picMkLst>
        </pc:picChg>
        <pc:picChg chg="mod">
          <ac:chgData name="Fitzgerald, Madeline" userId="c680c3b0-1f97-40c6-b06e-80efdcdb988b" providerId="ADAL" clId="{B8BF1D00-457E-4F6C-BAC6-28E7879A2C39}" dt="2025-05-28T03:07:45.752" v="2109" actId="1076"/>
          <ac:picMkLst>
            <pc:docMk/>
            <pc:sldMk cId="274071638" sldId="461"/>
            <ac:picMk id="131" creationId="{11405612-49C7-FD39-0341-FF488BCB2413}"/>
          </ac:picMkLst>
        </pc:picChg>
        <pc:picChg chg="mod">
          <ac:chgData name="Fitzgerald, Madeline" userId="c680c3b0-1f97-40c6-b06e-80efdcdb988b" providerId="ADAL" clId="{B8BF1D00-457E-4F6C-BAC6-28E7879A2C39}" dt="2025-05-28T03:06:19.818" v="2096" actId="1076"/>
          <ac:picMkLst>
            <pc:docMk/>
            <pc:sldMk cId="274071638" sldId="461"/>
            <ac:picMk id="133" creationId="{B56C21CE-96FC-14B5-93B1-B61A0ECE3365}"/>
          </ac:picMkLst>
        </pc:picChg>
      </pc:sldChg>
      <pc:sldChg chg="new del">
        <pc:chgData name="Fitzgerald, Madeline" userId="c680c3b0-1f97-40c6-b06e-80efdcdb988b" providerId="ADAL" clId="{B8BF1D00-457E-4F6C-BAC6-28E7879A2C39}" dt="2025-05-20T19:18:17.677" v="29" actId="47"/>
        <pc:sldMkLst>
          <pc:docMk/>
          <pc:sldMk cId="2625868162" sldId="461"/>
        </pc:sldMkLst>
      </pc:sldChg>
      <pc:sldChg chg="addSp delSp modSp new mod">
        <pc:chgData name="Fitzgerald, Madeline" userId="c680c3b0-1f97-40c6-b06e-80efdcdb988b" providerId="ADAL" clId="{B8BF1D00-457E-4F6C-BAC6-28E7879A2C39}" dt="2025-05-28T04:00:00.561" v="3020" actId="20577"/>
        <pc:sldMkLst>
          <pc:docMk/>
          <pc:sldMk cId="3428846195" sldId="462"/>
        </pc:sldMkLst>
        <pc:spChg chg="add mod">
          <ac:chgData name="Fitzgerald, Madeline" userId="c680c3b0-1f97-40c6-b06e-80efdcdb988b" providerId="ADAL" clId="{B8BF1D00-457E-4F6C-BAC6-28E7879A2C39}" dt="2025-05-20T19:39:39.529" v="377" actId="403"/>
          <ac:spMkLst>
            <pc:docMk/>
            <pc:sldMk cId="3428846195" sldId="462"/>
            <ac:spMk id="6" creationId="{AA77C8EF-8894-054B-FCFF-8222AD5F2CF9}"/>
          </ac:spMkLst>
        </pc:spChg>
        <pc:spChg chg="add mod">
          <ac:chgData name="Fitzgerald, Madeline" userId="c680c3b0-1f97-40c6-b06e-80efdcdb988b" providerId="ADAL" clId="{B8BF1D00-457E-4F6C-BAC6-28E7879A2C39}" dt="2025-05-23T15:47:28.451" v="896"/>
          <ac:spMkLst>
            <pc:docMk/>
            <pc:sldMk cId="3428846195" sldId="462"/>
            <ac:spMk id="7" creationId="{8D868062-862A-D98F-A6EA-78AE00764B7F}"/>
          </ac:spMkLst>
        </pc:spChg>
        <pc:spChg chg="add mod">
          <ac:chgData name="Fitzgerald, Madeline" userId="c680c3b0-1f97-40c6-b06e-80efdcdb988b" providerId="ADAL" clId="{B8BF1D00-457E-4F6C-BAC6-28E7879A2C39}" dt="2025-05-20T19:41:59.713" v="419" actId="179"/>
          <ac:spMkLst>
            <pc:docMk/>
            <pc:sldMk cId="3428846195" sldId="462"/>
            <ac:spMk id="8" creationId="{71C5C00E-8D6A-55F1-17C2-84A2F798B9B9}"/>
          </ac:spMkLst>
        </pc:spChg>
        <pc:spChg chg="add mod">
          <ac:chgData name="Fitzgerald, Madeline" userId="c680c3b0-1f97-40c6-b06e-80efdcdb988b" providerId="ADAL" clId="{B8BF1D00-457E-4F6C-BAC6-28E7879A2C39}" dt="2025-05-20T19:39:23.659" v="356" actId="948"/>
          <ac:spMkLst>
            <pc:docMk/>
            <pc:sldMk cId="3428846195" sldId="462"/>
            <ac:spMk id="9" creationId="{610538BC-EEF9-F6FE-E77B-0793E6F88A89}"/>
          </ac:spMkLst>
        </pc:spChg>
        <pc:spChg chg="add mod">
          <ac:chgData name="Fitzgerald, Madeline" userId="c680c3b0-1f97-40c6-b06e-80efdcdb988b" providerId="ADAL" clId="{B8BF1D00-457E-4F6C-BAC6-28E7879A2C39}" dt="2025-05-20T19:41:28.597" v="415" actId="948"/>
          <ac:spMkLst>
            <pc:docMk/>
            <pc:sldMk cId="3428846195" sldId="462"/>
            <ac:spMk id="10" creationId="{CD813D0D-507A-0AAB-1132-248A5844FA57}"/>
          </ac:spMkLst>
        </pc:spChg>
        <pc:spChg chg="add mod">
          <ac:chgData name="Fitzgerald, Madeline" userId="c680c3b0-1f97-40c6-b06e-80efdcdb988b" providerId="ADAL" clId="{B8BF1D00-457E-4F6C-BAC6-28E7879A2C39}" dt="2025-05-20T19:36:01.340" v="303" actId="1076"/>
          <ac:spMkLst>
            <pc:docMk/>
            <pc:sldMk cId="3428846195" sldId="462"/>
            <ac:spMk id="11" creationId="{4C03D9F5-9297-F876-2185-77A14296A426}"/>
          </ac:spMkLst>
        </pc:spChg>
        <pc:spChg chg="add mod">
          <ac:chgData name="Fitzgerald, Madeline" userId="c680c3b0-1f97-40c6-b06e-80efdcdb988b" providerId="ADAL" clId="{B8BF1D00-457E-4F6C-BAC6-28E7879A2C39}" dt="2025-05-20T19:35:09.085" v="283" actId="207"/>
          <ac:spMkLst>
            <pc:docMk/>
            <pc:sldMk cId="3428846195" sldId="462"/>
            <ac:spMk id="12" creationId="{C1BB6F1B-198C-53DD-4F3D-A17379E8A381}"/>
          </ac:spMkLst>
        </pc:spChg>
        <pc:spChg chg="add mod">
          <ac:chgData name="Fitzgerald, Madeline" userId="c680c3b0-1f97-40c6-b06e-80efdcdb988b" providerId="ADAL" clId="{B8BF1D00-457E-4F6C-BAC6-28E7879A2C39}" dt="2025-05-20T19:35:05.699" v="282" actId="207"/>
          <ac:spMkLst>
            <pc:docMk/>
            <pc:sldMk cId="3428846195" sldId="462"/>
            <ac:spMk id="13" creationId="{B70B61AA-EADA-62E0-2538-7EA539751A0A}"/>
          </ac:spMkLst>
        </pc:spChg>
        <pc:spChg chg="add mod">
          <ac:chgData name="Fitzgerald, Madeline" userId="c680c3b0-1f97-40c6-b06e-80efdcdb988b" providerId="ADAL" clId="{B8BF1D00-457E-4F6C-BAC6-28E7879A2C39}" dt="2025-05-20T19:35:01.900" v="281" actId="207"/>
          <ac:spMkLst>
            <pc:docMk/>
            <pc:sldMk cId="3428846195" sldId="462"/>
            <ac:spMk id="14" creationId="{8BA27D98-FD7F-16E9-E7EE-252BB3E9C849}"/>
          </ac:spMkLst>
        </pc:spChg>
        <pc:spChg chg="add mod">
          <ac:chgData name="Fitzgerald, Madeline" userId="c680c3b0-1f97-40c6-b06e-80efdcdb988b" providerId="ADAL" clId="{B8BF1D00-457E-4F6C-BAC6-28E7879A2C39}" dt="2025-05-20T19:36:13.860" v="305" actId="1076"/>
          <ac:spMkLst>
            <pc:docMk/>
            <pc:sldMk cId="3428846195" sldId="462"/>
            <ac:spMk id="15" creationId="{3671F5F2-CFFC-F2A9-2310-D6A63416A000}"/>
          </ac:spMkLst>
        </pc:spChg>
        <pc:spChg chg="add mod">
          <ac:chgData name="Fitzgerald, Madeline" userId="c680c3b0-1f97-40c6-b06e-80efdcdb988b" providerId="ADAL" clId="{B8BF1D00-457E-4F6C-BAC6-28E7879A2C39}" dt="2025-05-20T19:36:06.978" v="304" actId="1076"/>
          <ac:spMkLst>
            <pc:docMk/>
            <pc:sldMk cId="3428846195" sldId="462"/>
            <ac:spMk id="16" creationId="{0723FC0F-C5A6-DFD2-0775-867A51EA22D1}"/>
          </ac:spMkLst>
        </pc:spChg>
        <pc:spChg chg="add mod">
          <ac:chgData name="Fitzgerald, Madeline" userId="c680c3b0-1f97-40c6-b06e-80efdcdb988b" providerId="ADAL" clId="{B8BF1D00-457E-4F6C-BAC6-28E7879A2C39}" dt="2025-05-20T19:36:23.019" v="309" actId="20577"/>
          <ac:spMkLst>
            <pc:docMk/>
            <pc:sldMk cId="3428846195" sldId="462"/>
            <ac:spMk id="17" creationId="{29E7BCE8-3351-D703-AC3E-CC109827190E}"/>
          </ac:spMkLst>
        </pc:spChg>
        <pc:spChg chg="add mod">
          <ac:chgData name="Fitzgerald, Madeline" userId="c680c3b0-1f97-40c6-b06e-80efdcdb988b" providerId="ADAL" clId="{B8BF1D00-457E-4F6C-BAC6-28E7879A2C39}" dt="2025-05-20T19:36:39.383" v="314" actId="1076"/>
          <ac:spMkLst>
            <pc:docMk/>
            <pc:sldMk cId="3428846195" sldId="462"/>
            <ac:spMk id="18" creationId="{7E5BE5C9-11A9-F297-81F7-BBC46AC80B44}"/>
          </ac:spMkLst>
        </pc:spChg>
        <pc:spChg chg="add mod">
          <ac:chgData name="Fitzgerald, Madeline" userId="c680c3b0-1f97-40c6-b06e-80efdcdb988b" providerId="ADAL" clId="{B8BF1D00-457E-4F6C-BAC6-28E7879A2C39}" dt="2025-05-23T16:04:02.927" v="1192"/>
          <ac:spMkLst>
            <pc:docMk/>
            <pc:sldMk cId="3428846195" sldId="462"/>
            <ac:spMk id="20" creationId="{69A4025D-CF66-83E8-283E-025C69F79C64}"/>
          </ac:spMkLst>
        </pc:spChg>
        <pc:graphicFrameChg chg="mod">
          <ac:chgData name="Fitzgerald, Madeline" userId="c680c3b0-1f97-40c6-b06e-80efdcdb988b" providerId="ADAL" clId="{B8BF1D00-457E-4F6C-BAC6-28E7879A2C39}" dt="2025-05-28T04:00:00.561" v="3020" actId="20577"/>
          <ac:graphicFrameMkLst>
            <pc:docMk/>
            <pc:sldMk cId="3428846195" sldId="462"/>
            <ac:graphicFrameMk id="2" creationId="{B7DAAAA8-8F46-C4CF-7E26-F36A2F921C42}"/>
          </ac:graphicFrameMkLst>
        </pc:graphicFrameChg>
      </pc:sldChg>
      <pc:sldChg chg="addSp delSp modSp add mod">
        <pc:chgData name="Fitzgerald, Madeline" userId="c680c3b0-1f97-40c6-b06e-80efdcdb988b" providerId="ADAL" clId="{B8BF1D00-457E-4F6C-BAC6-28E7879A2C39}" dt="2025-05-28T04:00:09.313" v="3022" actId="20577"/>
        <pc:sldMkLst>
          <pc:docMk/>
          <pc:sldMk cId="264711554" sldId="463"/>
        </pc:sldMkLst>
        <pc:spChg chg="add mod">
          <ac:chgData name="Fitzgerald, Madeline" userId="c680c3b0-1f97-40c6-b06e-80efdcdb988b" providerId="ADAL" clId="{B8BF1D00-457E-4F6C-BAC6-28E7879A2C39}" dt="2025-05-20T19:45:03.024" v="437" actId="20577"/>
          <ac:spMkLst>
            <pc:docMk/>
            <pc:sldMk cId="264711554" sldId="463"/>
            <ac:spMk id="6" creationId="{579525A3-BF39-2FEA-D897-75A3C8C974CF}"/>
          </ac:spMkLst>
        </pc:spChg>
        <pc:spChg chg="add mod">
          <ac:chgData name="Fitzgerald, Madeline" userId="c680c3b0-1f97-40c6-b06e-80efdcdb988b" providerId="ADAL" clId="{B8BF1D00-457E-4F6C-BAC6-28E7879A2C39}" dt="2025-05-23T15:47:28.451" v="896"/>
          <ac:spMkLst>
            <pc:docMk/>
            <pc:sldMk cId="264711554" sldId="463"/>
            <ac:spMk id="9" creationId="{061DC954-1006-B8C4-5D80-B2043FC17AF3}"/>
          </ac:spMkLst>
        </pc:spChg>
        <pc:spChg chg="add mod">
          <ac:chgData name="Fitzgerald, Madeline" userId="c680c3b0-1f97-40c6-b06e-80efdcdb988b" providerId="ADAL" clId="{B8BF1D00-457E-4F6C-BAC6-28E7879A2C39}" dt="2025-05-23T15:27:55.812" v="599" actId="207"/>
          <ac:spMkLst>
            <pc:docMk/>
            <pc:sldMk cId="264711554" sldId="463"/>
            <ac:spMk id="10" creationId="{84775895-F8A6-2AF9-4B15-9E95D203B750}"/>
          </ac:spMkLst>
        </pc:spChg>
        <pc:spChg chg="add mod">
          <ac:chgData name="Fitzgerald, Madeline" userId="c680c3b0-1f97-40c6-b06e-80efdcdb988b" providerId="ADAL" clId="{B8BF1D00-457E-4F6C-BAC6-28E7879A2C39}" dt="2025-05-23T15:27:36.248" v="587" actId="1035"/>
          <ac:spMkLst>
            <pc:docMk/>
            <pc:sldMk cId="264711554" sldId="463"/>
            <ac:spMk id="11" creationId="{8D6EDBFF-927E-62DC-1BBA-1496B88F0BF1}"/>
          </ac:spMkLst>
        </pc:spChg>
        <pc:spChg chg="add mod">
          <ac:chgData name="Fitzgerald, Madeline" userId="c680c3b0-1f97-40c6-b06e-80efdcdb988b" providerId="ADAL" clId="{B8BF1D00-457E-4F6C-BAC6-28E7879A2C39}" dt="2025-05-23T15:27:41.481" v="597" actId="1035"/>
          <ac:spMkLst>
            <pc:docMk/>
            <pc:sldMk cId="264711554" sldId="463"/>
            <ac:spMk id="20" creationId="{4119AB1E-261A-B9CF-E538-7222FDA2D4A9}"/>
          </ac:spMkLst>
        </pc:spChg>
        <pc:spChg chg="add mod">
          <ac:chgData name="Fitzgerald, Madeline" userId="c680c3b0-1f97-40c6-b06e-80efdcdb988b" providerId="ADAL" clId="{B8BF1D00-457E-4F6C-BAC6-28E7879A2C39}" dt="2025-05-23T15:29:13.255" v="616" actId="1035"/>
          <ac:spMkLst>
            <pc:docMk/>
            <pc:sldMk cId="264711554" sldId="463"/>
            <ac:spMk id="21" creationId="{7656D655-3BC7-D83C-C566-648617E1EB98}"/>
          </ac:spMkLst>
        </pc:spChg>
        <pc:spChg chg="add mod">
          <ac:chgData name="Fitzgerald, Madeline" userId="c680c3b0-1f97-40c6-b06e-80efdcdb988b" providerId="ADAL" clId="{B8BF1D00-457E-4F6C-BAC6-28E7879A2C39}" dt="2025-05-23T15:29:25.644" v="626" actId="1036"/>
          <ac:spMkLst>
            <pc:docMk/>
            <pc:sldMk cId="264711554" sldId="463"/>
            <ac:spMk id="22" creationId="{29B8B202-370E-AD20-0837-F71F9470371F}"/>
          </ac:spMkLst>
        </pc:spChg>
        <pc:spChg chg="add mod">
          <ac:chgData name="Fitzgerald, Madeline" userId="c680c3b0-1f97-40c6-b06e-80efdcdb988b" providerId="ADAL" clId="{B8BF1D00-457E-4F6C-BAC6-28E7879A2C39}" dt="2025-05-23T15:27:36.248" v="587" actId="1035"/>
          <ac:spMkLst>
            <pc:docMk/>
            <pc:sldMk cId="264711554" sldId="463"/>
            <ac:spMk id="24" creationId="{A57589D9-5415-27C3-C986-AB1F2762BC79}"/>
          </ac:spMkLst>
        </pc:spChg>
        <pc:spChg chg="add mod">
          <ac:chgData name="Fitzgerald, Madeline" userId="c680c3b0-1f97-40c6-b06e-80efdcdb988b" providerId="ADAL" clId="{B8BF1D00-457E-4F6C-BAC6-28E7879A2C39}" dt="2025-05-23T15:27:41.481" v="597" actId="1035"/>
          <ac:spMkLst>
            <pc:docMk/>
            <pc:sldMk cId="264711554" sldId="463"/>
            <ac:spMk id="26" creationId="{5EF73309-0E3F-3AFA-CD6B-7E5395F6F513}"/>
          </ac:spMkLst>
        </pc:spChg>
        <pc:spChg chg="add mod">
          <ac:chgData name="Fitzgerald, Madeline" userId="c680c3b0-1f97-40c6-b06e-80efdcdb988b" providerId="ADAL" clId="{B8BF1D00-457E-4F6C-BAC6-28E7879A2C39}" dt="2025-05-23T15:29:13.255" v="616" actId="1035"/>
          <ac:spMkLst>
            <pc:docMk/>
            <pc:sldMk cId="264711554" sldId="463"/>
            <ac:spMk id="27" creationId="{453FCB22-2D4E-922F-880C-7632609429FE}"/>
          </ac:spMkLst>
        </pc:spChg>
        <pc:spChg chg="add mod">
          <ac:chgData name="Fitzgerald, Madeline" userId="c680c3b0-1f97-40c6-b06e-80efdcdb988b" providerId="ADAL" clId="{B8BF1D00-457E-4F6C-BAC6-28E7879A2C39}" dt="2025-05-23T15:29:25.644" v="626" actId="1036"/>
          <ac:spMkLst>
            <pc:docMk/>
            <pc:sldMk cId="264711554" sldId="463"/>
            <ac:spMk id="28" creationId="{5442BBED-EDA4-49F8-201A-38AAED15D0BF}"/>
          </ac:spMkLst>
        </pc:spChg>
        <pc:spChg chg="add mod">
          <ac:chgData name="Fitzgerald, Madeline" userId="c680c3b0-1f97-40c6-b06e-80efdcdb988b" providerId="ADAL" clId="{B8BF1D00-457E-4F6C-BAC6-28E7879A2C39}" dt="2025-05-23T15:29:56.139" v="631" actId="207"/>
          <ac:spMkLst>
            <pc:docMk/>
            <pc:sldMk cId="264711554" sldId="463"/>
            <ac:spMk id="29" creationId="{5FE0FC7A-9B06-07F5-C2FD-03B9B161B8A0}"/>
          </ac:spMkLst>
        </pc:spChg>
        <pc:spChg chg="add mod">
          <ac:chgData name="Fitzgerald, Madeline" userId="c680c3b0-1f97-40c6-b06e-80efdcdb988b" providerId="ADAL" clId="{B8BF1D00-457E-4F6C-BAC6-28E7879A2C39}" dt="2025-05-23T15:29:45.367" v="629" actId="207"/>
          <ac:spMkLst>
            <pc:docMk/>
            <pc:sldMk cId="264711554" sldId="463"/>
            <ac:spMk id="30" creationId="{BBF3E04E-621D-2743-3A9E-E2A6E37F76F2}"/>
          </ac:spMkLst>
        </pc:spChg>
        <pc:spChg chg="add mod">
          <ac:chgData name="Fitzgerald, Madeline" userId="c680c3b0-1f97-40c6-b06e-80efdcdb988b" providerId="ADAL" clId="{B8BF1D00-457E-4F6C-BAC6-28E7879A2C39}" dt="2025-05-23T15:29:58.411" v="632" actId="207"/>
          <ac:spMkLst>
            <pc:docMk/>
            <pc:sldMk cId="264711554" sldId="463"/>
            <ac:spMk id="33" creationId="{5162F7F7-2C19-8131-7D1B-2BBD402AFF56}"/>
          </ac:spMkLst>
        </pc:spChg>
        <pc:spChg chg="add mod">
          <ac:chgData name="Fitzgerald, Madeline" userId="c680c3b0-1f97-40c6-b06e-80efdcdb988b" providerId="ADAL" clId="{B8BF1D00-457E-4F6C-BAC6-28E7879A2C39}" dt="2025-05-23T15:29:48.652" v="630" actId="207"/>
          <ac:spMkLst>
            <pc:docMk/>
            <pc:sldMk cId="264711554" sldId="463"/>
            <ac:spMk id="34" creationId="{0C2BC353-CC98-C4CD-992F-28E2388DE8D4}"/>
          </ac:spMkLst>
        </pc:spChg>
        <pc:spChg chg="add mod">
          <ac:chgData name="Fitzgerald, Madeline" userId="c680c3b0-1f97-40c6-b06e-80efdcdb988b" providerId="ADAL" clId="{B8BF1D00-457E-4F6C-BAC6-28E7879A2C39}" dt="2025-05-23T16:04:05.766" v="1193"/>
          <ac:spMkLst>
            <pc:docMk/>
            <pc:sldMk cId="264711554" sldId="463"/>
            <ac:spMk id="36" creationId="{F82912F7-EE1F-3C01-70D7-3DFAEF12E71A}"/>
          </ac:spMkLst>
        </pc:spChg>
        <pc:graphicFrameChg chg="mod">
          <ac:chgData name="Fitzgerald, Madeline" userId="c680c3b0-1f97-40c6-b06e-80efdcdb988b" providerId="ADAL" clId="{B8BF1D00-457E-4F6C-BAC6-28E7879A2C39}" dt="2025-05-28T04:00:09.313" v="3022" actId="20577"/>
          <ac:graphicFrameMkLst>
            <pc:docMk/>
            <pc:sldMk cId="264711554" sldId="463"/>
            <ac:graphicFrameMk id="25" creationId="{798DD113-08BC-0766-C17D-46C52E4F4667}"/>
          </ac:graphicFrameMkLst>
        </pc:graphicFrameChg>
        <pc:cxnChg chg="add mod">
          <ac:chgData name="Fitzgerald, Madeline" userId="c680c3b0-1f97-40c6-b06e-80efdcdb988b" providerId="ADAL" clId="{B8BF1D00-457E-4F6C-BAC6-28E7879A2C39}" dt="2025-05-23T15:29:04.575" v="605" actId="1582"/>
          <ac:cxnSpMkLst>
            <pc:docMk/>
            <pc:sldMk cId="264711554" sldId="463"/>
            <ac:cxnSpMk id="32" creationId="{4093CCE9-80BB-BCB6-D9E8-BDD11B536DDA}"/>
          </ac:cxnSpMkLst>
        </pc:cxnChg>
      </pc:sldChg>
      <pc:sldChg chg="addSp delSp modSp del mod">
        <pc:chgData name="Fitzgerald, Madeline" userId="c680c3b0-1f97-40c6-b06e-80efdcdb988b" providerId="ADAL" clId="{B8BF1D00-457E-4F6C-BAC6-28E7879A2C39}" dt="2025-05-28T03:47:04.124" v="2877" actId="47"/>
        <pc:sldMkLst>
          <pc:docMk/>
          <pc:sldMk cId="1700624718" sldId="464"/>
        </pc:sldMkLst>
        <pc:spChg chg="del">
          <ac:chgData name="Fitzgerald, Madeline" userId="c680c3b0-1f97-40c6-b06e-80efdcdb988b" providerId="ADAL" clId="{B8BF1D00-457E-4F6C-BAC6-28E7879A2C39}" dt="2025-05-28T03:26:15.817" v="2342" actId="478"/>
          <ac:spMkLst>
            <pc:docMk/>
            <pc:sldMk cId="1700624718" sldId="464"/>
            <ac:spMk id="2" creationId="{24E49D2B-C6CC-F2BE-349E-6F4629135BE5}"/>
          </ac:spMkLst>
        </pc:spChg>
        <pc:spChg chg="add mod ord">
          <ac:chgData name="Fitzgerald, Madeline" userId="c680c3b0-1f97-40c6-b06e-80efdcdb988b" providerId="ADAL" clId="{B8BF1D00-457E-4F6C-BAC6-28E7879A2C39}" dt="2025-05-28T03:26:10.934" v="2341" actId="1076"/>
          <ac:spMkLst>
            <pc:docMk/>
            <pc:sldMk cId="1700624718" sldId="464"/>
            <ac:spMk id="13" creationId="{9994AC0D-CF79-4BCD-D001-B2AF46A77C36}"/>
          </ac:spMkLst>
        </pc:spChg>
        <pc:spChg chg="add del mod">
          <ac:chgData name="Fitzgerald, Madeline" userId="c680c3b0-1f97-40c6-b06e-80efdcdb988b" providerId="ADAL" clId="{B8BF1D00-457E-4F6C-BAC6-28E7879A2C39}" dt="2025-05-28T03:26:18.188" v="2343" actId="478"/>
          <ac:spMkLst>
            <pc:docMk/>
            <pc:sldMk cId="1700624718" sldId="464"/>
            <ac:spMk id="15" creationId="{04E172FF-09DD-1905-E5ED-D50020EA253C}"/>
          </ac:spMkLst>
        </pc:spChg>
        <pc:spChg chg="add mod">
          <ac:chgData name="Fitzgerald, Madeline" userId="c680c3b0-1f97-40c6-b06e-80efdcdb988b" providerId="ADAL" clId="{B8BF1D00-457E-4F6C-BAC6-28E7879A2C39}" dt="2025-05-28T03:26:28.971" v="2374" actId="20577"/>
          <ac:spMkLst>
            <pc:docMk/>
            <pc:sldMk cId="1700624718" sldId="464"/>
            <ac:spMk id="16" creationId="{EE687C83-3111-0180-202D-3E56A67E2186}"/>
          </ac:spMkLst>
        </pc:spChg>
      </pc:sldChg>
      <pc:sldChg chg="add del">
        <pc:chgData name="Fitzgerald, Madeline" userId="c680c3b0-1f97-40c6-b06e-80efdcdb988b" providerId="ADAL" clId="{B8BF1D00-457E-4F6C-BAC6-28E7879A2C39}" dt="2025-05-23T16:10:49.377" v="1330" actId="47"/>
        <pc:sldMkLst>
          <pc:docMk/>
          <pc:sldMk cId="2017668696" sldId="466"/>
        </pc:sldMkLst>
      </pc:sldChg>
      <pc:sldChg chg="add del">
        <pc:chgData name="Fitzgerald, Madeline" userId="c680c3b0-1f97-40c6-b06e-80efdcdb988b" providerId="ADAL" clId="{B8BF1D00-457E-4F6C-BAC6-28E7879A2C39}" dt="2025-05-23T15:36:14.618" v="734" actId="47"/>
        <pc:sldMkLst>
          <pc:docMk/>
          <pc:sldMk cId="4102394503" sldId="467"/>
        </pc:sldMkLst>
      </pc:sldChg>
      <pc:sldChg chg="addSp modSp add mod">
        <pc:chgData name="Fitzgerald, Madeline" userId="c680c3b0-1f97-40c6-b06e-80efdcdb988b" providerId="ADAL" clId="{B8BF1D00-457E-4F6C-BAC6-28E7879A2C39}" dt="2025-05-28T04:00:25.935" v="3024" actId="20577"/>
        <pc:sldMkLst>
          <pc:docMk/>
          <pc:sldMk cId="713803412" sldId="468"/>
        </pc:sldMkLst>
        <pc:spChg chg="add mod">
          <ac:chgData name="Fitzgerald, Madeline" userId="c680c3b0-1f97-40c6-b06e-80efdcdb988b" providerId="ADAL" clId="{B8BF1D00-457E-4F6C-BAC6-28E7879A2C39}" dt="2025-05-23T15:35:06.110" v="727" actId="1036"/>
          <ac:spMkLst>
            <pc:docMk/>
            <pc:sldMk cId="713803412" sldId="468"/>
            <ac:spMk id="2" creationId="{4ECECA12-84E1-342D-F2E4-FF275B4B8A0A}"/>
          </ac:spMkLst>
        </pc:spChg>
        <pc:spChg chg="add mod">
          <ac:chgData name="Fitzgerald, Madeline" userId="c680c3b0-1f97-40c6-b06e-80efdcdb988b" providerId="ADAL" clId="{B8BF1D00-457E-4F6C-BAC6-28E7879A2C39}" dt="2025-05-23T16:04:08.301" v="1194"/>
          <ac:spMkLst>
            <pc:docMk/>
            <pc:sldMk cId="713803412" sldId="468"/>
            <ac:spMk id="4" creationId="{3CBEE07A-FED1-350D-AE9A-9D520827D324}"/>
          </ac:spMkLst>
        </pc:spChg>
        <pc:spChg chg="mod">
          <ac:chgData name="Fitzgerald, Madeline" userId="c680c3b0-1f97-40c6-b06e-80efdcdb988b" providerId="ADAL" clId="{B8BF1D00-457E-4F6C-BAC6-28E7879A2C39}" dt="2025-05-23T15:32:06.630" v="648" actId="20577"/>
          <ac:spMkLst>
            <pc:docMk/>
            <pc:sldMk cId="713803412" sldId="468"/>
            <ac:spMk id="6" creationId="{36BE7132-0299-6D0C-7022-A1052461F71C}"/>
          </ac:spMkLst>
        </pc:spChg>
        <pc:spChg chg="mod">
          <ac:chgData name="Fitzgerald, Madeline" userId="c680c3b0-1f97-40c6-b06e-80efdcdb988b" providerId="ADAL" clId="{B8BF1D00-457E-4F6C-BAC6-28E7879A2C39}" dt="2025-05-23T15:35:16.995" v="728" actId="207"/>
          <ac:spMkLst>
            <pc:docMk/>
            <pc:sldMk cId="713803412" sldId="468"/>
            <ac:spMk id="9" creationId="{18570717-93DE-8F1B-E445-BF5F92C38295}"/>
          </ac:spMkLst>
        </pc:spChg>
        <pc:spChg chg="mod">
          <ac:chgData name="Fitzgerald, Madeline" userId="c680c3b0-1f97-40c6-b06e-80efdcdb988b" providerId="ADAL" clId="{B8BF1D00-457E-4F6C-BAC6-28E7879A2C39}" dt="2025-05-23T15:35:38.095" v="731" actId="207"/>
          <ac:spMkLst>
            <pc:docMk/>
            <pc:sldMk cId="713803412" sldId="468"/>
            <ac:spMk id="10" creationId="{94A78CD3-E969-686E-C7C0-6467D2DF1DE8}"/>
          </ac:spMkLst>
        </pc:spChg>
        <pc:spChg chg="mod">
          <ac:chgData name="Fitzgerald, Madeline" userId="c680c3b0-1f97-40c6-b06e-80efdcdb988b" providerId="ADAL" clId="{B8BF1D00-457E-4F6C-BAC6-28E7879A2C39}" dt="2025-05-23T15:35:23.158" v="729" actId="207"/>
          <ac:spMkLst>
            <pc:docMk/>
            <pc:sldMk cId="713803412" sldId="468"/>
            <ac:spMk id="11" creationId="{C6CECB3B-37C2-5C6B-A219-738A363C36FF}"/>
          </ac:spMkLst>
        </pc:spChg>
        <pc:spChg chg="mod">
          <ac:chgData name="Fitzgerald, Madeline" userId="c680c3b0-1f97-40c6-b06e-80efdcdb988b" providerId="ADAL" clId="{B8BF1D00-457E-4F6C-BAC6-28E7879A2C39}" dt="2025-05-23T15:35:23.158" v="729" actId="207"/>
          <ac:spMkLst>
            <pc:docMk/>
            <pc:sldMk cId="713803412" sldId="468"/>
            <ac:spMk id="20" creationId="{47C2413B-1626-345F-F558-7FC9715CDE21}"/>
          </ac:spMkLst>
        </pc:spChg>
        <pc:spChg chg="mod">
          <ac:chgData name="Fitzgerald, Madeline" userId="c680c3b0-1f97-40c6-b06e-80efdcdb988b" providerId="ADAL" clId="{B8BF1D00-457E-4F6C-BAC6-28E7879A2C39}" dt="2025-05-23T15:35:28.549" v="730" actId="207"/>
          <ac:spMkLst>
            <pc:docMk/>
            <pc:sldMk cId="713803412" sldId="468"/>
            <ac:spMk id="21" creationId="{47E7F4EA-48B7-9E65-9DEF-EF1E2AD1E806}"/>
          </ac:spMkLst>
        </pc:spChg>
        <pc:spChg chg="mod">
          <ac:chgData name="Fitzgerald, Madeline" userId="c680c3b0-1f97-40c6-b06e-80efdcdb988b" providerId="ADAL" clId="{B8BF1D00-457E-4F6C-BAC6-28E7879A2C39}" dt="2025-05-23T15:35:28.549" v="730" actId="207"/>
          <ac:spMkLst>
            <pc:docMk/>
            <pc:sldMk cId="713803412" sldId="468"/>
            <ac:spMk id="22" creationId="{9F46321E-9890-4515-6FFB-C937B940934D}"/>
          </ac:spMkLst>
        </pc:spChg>
        <pc:spChg chg="mod">
          <ac:chgData name="Fitzgerald, Madeline" userId="c680c3b0-1f97-40c6-b06e-80efdcdb988b" providerId="ADAL" clId="{B8BF1D00-457E-4F6C-BAC6-28E7879A2C39}" dt="2025-05-23T15:35:43.118" v="732" actId="207"/>
          <ac:spMkLst>
            <pc:docMk/>
            <pc:sldMk cId="713803412" sldId="468"/>
            <ac:spMk id="24" creationId="{43FE7744-FCDC-A790-95C4-9C4D4285135D}"/>
          </ac:spMkLst>
        </pc:spChg>
        <pc:spChg chg="mod">
          <ac:chgData name="Fitzgerald, Madeline" userId="c680c3b0-1f97-40c6-b06e-80efdcdb988b" providerId="ADAL" clId="{B8BF1D00-457E-4F6C-BAC6-28E7879A2C39}" dt="2025-05-23T15:35:43.118" v="732" actId="207"/>
          <ac:spMkLst>
            <pc:docMk/>
            <pc:sldMk cId="713803412" sldId="468"/>
            <ac:spMk id="26" creationId="{5C3318B5-0A4A-C9D5-6955-E9D72DAC8369}"/>
          </ac:spMkLst>
        </pc:spChg>
        <pc:spChg chg="mod">
          <ac:chgData name="Fitzgerald, Madeline" userId="c680c3b0-1f97-40c6-b06e-80efdcdb988b" providerId="ADAL" clId="{B8BF1D00-457E-4F6C-BAC6-28E7879A2C39}" dt="2025-05-23T15:35:02.652" v="720" actId="1036"/>
          <ac:spMkLst>
            <pc:docMk/>
            <pc:sldMk cId="713803412" sldId="468"/>
            <ac:spMk id="27" creationId="{55DB5BEA-9323-727D-0423-087010FEACC3}"/>
          </ac:spMkLst>
        </pc:spChg>
        <pc:spChg chg="mod">
          <ac:chgData name="Fitzgerald, Madeline" userId="c680c3b0-1f97-40c6-b06e-80efdcdb988b" providerId="ADAL" clId="{B8BF1D00-457E-4F6C-BAC6-28E7879A2C39}" dt="2025-05-23T15:34:42.232" v="704" actId="14100"/>
          <ac:spMkLst>
            <pc:docMk/>
            <pc:sldMk cId="713803412" sldId="468"/>
            <ac:spMk id="28" creationId="{9B47481B-47CA-6C76-8414-3B0E01B3B2BA}"/>
          </ac:spMkLst>
        </pc:spChg>
        <pc:spChg chg="mod">
          <ac:chgData name="Fitzgerald, Madeline" userId="c680c3b0-1f97-40c6-b06e-80efdcdb988b" providerId="ADAL" clId="{B8BF1D00-457E-4F6C-BAC6-28E7879A2C39}" dt="2025-05-23T15:35:38.095" v="731" actId="207"/>
          <ac:spMkLst>
            <pc:docMk/>
            <pc:sldMk cId="713803412" sldId="468"/>
            <ac:spMk id="29" creationId="{D1F3D768-4EF4-9130-C4A8-D86E1DACD862}"/>
          </ac:spMkLst>
        </pc:spChg>
        <pc:spChg chg="mod">
          <ac:chgData name="Fitzgerald, Madeline" userId="c680c3b0-1f97-40c6-b06e-80efdcdb988b" providerId="ADAL" clId="{B8BF1D00-457E-4F6C-BAC6-28E7879A2C39}" dt="2025-05-23T15:35:16.995" v="728" actId="207"/>
          <ac:spMkLst>
            <pc:docMk/>
            <pc:sldMk cId="713803412" sldId="468"/>
            <ac:spMk id="30" creationId="{B14A95A3-792C-5182-CCE1-79FBAE78E9E6}"/>
          </ac:spMkLst>
        </pc:spChg>
        <pc:spChg chg="mod">
          <ac:chgData name="Fitzgerald, Madeline" userId="c680c3b0-1f97-40c6-b06e-80efdcdb988b" providerId="ADAL" clId="{B8BF1D00-457E-4F6C-BAC6-28E7879A2C39}" dt="2025-05-23T15:34:54.031" v="713" actId="1037"/>
          <ac:spMkLst>
            <pc:docMk/>
            <pc:sldMk cId="713803412" sldId="468"/>
            <ac:spMk id="33" creationId="{C4E3CC06-B32D-E7CC-104F-C792E972DC64}"/>
          </ac:spMkLst>
        </pc:spChg>
        <pc:spChg chg="mod">
          <ac:chgData name="Fitzgerald, Madeline" userId="c680c3b0-1f97-40c6-b06e-80efdcdb988b" providerId="ADAL" clId="{B8BF1D00-457E-4F6C-BAC6-28E7879A2C39}" dt="2025-05-23T15:35:16.995" v="728" actId="207"/>
          <ac:spMkLst>
            <pc:docMk/>
            <pc:sldMk cId="713803412" sldId="468"/>
            <ac:spMk id="34" creationId="{0649F389-E2E2-444E-519A-643CD3D8B5E8}"/>
          </ac:spMkLst>
        </pc:spChg>
        <pc:graphicFrameChg chg="mod">
          <ac:chgData name="Fitzgerald, Madeline" userId="c680c3b0-1f97-40c6-b06e-80efdcdb988b" providerId="ADAL" clId="{B8BF1D00-457E-4F6C-BAC6-28E7879A2C39}" dt="2025-05-28T04:00:25.935" v="3024" actId="20577"/>
          <ac:graphicFrameMkLst>
            <pc:docMk/>
            <pc:sldMk cId="713803412" sldId="468"/>
            <ac:graphicFrameMk id="25" creationId="{7FC13640-BAB4-7052-434F-24577A2D3EA9}"/>
          </ac:graphicFrameMkLst>
        </pc:graphicFrameChg>
        <pc:cxnChg chg="mod">
          <ac:chgData name="Fitzgerald, Madeline" userId="c680c3b0-1f97-40c6-b06e-80efdcdb988b" providerId="ADAL" clId="{B8BF1D00-457E-4F6C-BAC6-28E7879A2C39}" dt="2025-05-23T15:33:54" v="675" actId="1035"/>
          <ac:cxnSpMkLst>
            <pc:docMk/>
            <pc:sldMk cId="713803412" sldId="468"/>
            <ac:cxnSpMk id="32" creationId="{40B6B8BD-E1BC-9791-8903-6624B79C26FB}"/>
          </ac:cxnSpMkLst>
        </pc:cxnChg>
      </pc:sldChg>
      <pc:sldChg chg="addSp delSp modSp add mod">
        <pc:chgData name="Fitzgerald, Madeline" userId="c680c3b0-1f97-40c6-b06e-80efdcdb988b" providerId="ADAL" clId="{B8BF1D00-457E-4F6C-BAC6-28E7879A2C39}" dt="2025-05-28T04:00:35.219" v="3026" actId="2711"/>
        <pc:sldMkLst>
          <pc:docMk/>
          <pc:sldMk cId="144562284" sldId="469"/>
        </pc:sldMkLst>
        <pc:spChg chg="mod">
          <ac:chgData name="Fitzgerald, Madeline" userId="c680c3b0-1f97-40c6-b06e-80efdcdb988b" providerId="ADAL" clId="{B8BF1D00-457E-4F6C-BAC6-28E7879A2C39}" dt="2025-05-23T15:37:31.957" v="798" actId="20577"/>
          <ac:spMkLst>
            <pc:docMk/>
            <pc:sldMk cId="144562284" sldId="469"/>
            <ac:spMk id="2" creationId="{1AAF1234-3BB4-8632-04CC-187E7808680E}"/>
          </ac:spMkLst>
        </pc:spChg>
        <pc:spChg chg="mod">
          <ac:chgData name="Fitzgerald, Madeline" userId="c680c3b0-1f97-40c6-b06e-80efdcdb988b" providerId="ADAL" clId="{B8BF1D00-457E-4F6C-BAC6-28E7879A2C39}" dt="2025-05-23T16:06:56.773" v="1273" actId="14100"/>
          <ac:spMkLst>
            <pc:docMk/>
            <pc:sldMk cId="144562284" sldId="469"/>
            <ac:spMk id="4" creationId="{36FA7053-AB29-2AD2-0426-08FC77A898B7}"/>
          </ac:spMkLst>
        </pc:spChg>
        <pc:spChg chg="add mod">
          <ac:chgData name="Fitzgerald, Madeline" userId="c680c3b0-1f97-40c6-b06e-80efdcdb988b" providerId="ADAL" clId="{B8BF1D00-457E-4F6C-BAC6-28E7879A2C39}" dt="2025-05-23T16:06:31.807" v="1256" actId="1035"/>
          <ac:spMkLst>
            <pc:docMk/>
            <pc:sldMk cId="144562284" sldId="469"/>
            <ac:spMk id="5" creationId="{0E238377-17F9-442E-DC8D-47924277C403}"/>
          </ac:spMkLst>
        </pc:spChg>
        <pc:spChg chg="add mod">
          <ac:chgData name="Fitzgerald, Madeline" userId="c680c3b0-1f97-40c6-b06e-80efdcdb988b" providerId="ADAL" clId="{B8BF1D00-457E-4F6C-BAC6-28E7879A2C39}" dt="2025-05-23T16:06:56.773" v="1273" actId="14100"/>
          <ac:spMkLst>
            <pc:docMk/>
            <pc:sldMk cId="144562284" sldId="469"/>
            <ac:spMk id="6" creationId="{5B02F2E6-53E7-DA09-4259-0FEAD4A10D65}"/>
          </ac:spMkLst>
        </pc:spChg>
        <pc:spChg chg="add mod">
          <ac:chgData name="Fitzgerald, Madeline" userId="c680c3b0-1f97-40c6-b06e-80efdcdb988b" providerId="ADAL" clId="{B8BF1D00-457E-4F6C-BAC6-28E7879A2C39}" dt="2025-05-28T04:00:29.853" v="3025" actId="1035"/>
          <ac:spMkLst>
            <pc:docMk/>
            <pc:sldMk cId="144562284" sldId="469"/>
            <ac:spMk id="7" creationId="{B64BAD3B-079C-A4A5-ECC2-6D705F6C9F60}"/>
          </ac:spMkLst>
        </pc:spChg>
        <pc:spChg chg="add mod">
          <ac:chgData name="Fitzgerald, Madeline" userId="c680c3b0-1f97-40c6-b06e-80efdcdb988b" providerId="ADAL" clId="{B8BF1D00-457E-4F6C-BAC6-28E7879A2C39}" dt="2025-05-23T16:08:24.472" v="1286" actId="20577"/>
          <ac:spMkLst>
            <pc:docMk/>
            <pc:sldMk cId="144562284" sldId="469"/>
            <ac:spMk id="8" creationId="{6A31A84B-1836-0151-C691-BB57B285BF6E}"/>
          </ac:spMkLst>
        </pc:spChg>
        <pc:spChg chg="add mod">
          <ac:chgData name="Fitzgerald, Madeline" userId="c680c3b0-1f97-40c6-b06e-80efdcdb988b" providerId="ADAL" clId="{B8BF1D00-457E-4F6C-BAC6-28E7879A2C39}" dt="2025-05-23T16:04:24.402" v="1197" actId="1076"/>
          <ac:spMkLst>
            <pc:docMk/>
            <pc:sldMk cId="144562284" sldId="469"/>
            <ac:spMk id="10" creationId="{A773FF1F-5F3F-082B-D596-E0A0C3A20D1F}"/>
          </ac:spMkLst>
        </pc:spChg>
        <pc:spChg chg="mod">
          <ac:chgData name="Fitzgerald, Madeline" userId="c680c3b0-1f97-40c6-b06e-80efdcdb988b" providerId="ADAL" clId="{B8BF1D00-457E-4F6C-BAC6-28E7879A2C39}" dt="2025-05-23T16:06:56.773" v="1273" actId="14100"/>
          <ac:spMkLst>
            <pc:docMk/>
            <pc:sldMk cId="144562284" sldId="469"/>
            <ac:spMk id="18" creationId="{91EADCB6-7738-AD3E-AF3F-47DC3919F8D9}"/>
          </ac:spMkLst>
        </pc:spChg>
        <pc:spChg chg="mod">
          <ac:chgData name="Fitzgerald, Madeline" userId="c680c3b0-1f97-40c6-b06e-80efdcdb988b" providerId="ADAL" clId="{B8BF1D00-457E-4F6C-BAC6-28E7879A2C39}" dt="2025-05-23T16:06:56.773" v="1273" actId="14100"/>
          <ac:spMkLst>
            <pc:docMk/>
            <pc:sldMk cId="144562284" sldId="469"/>
            <ac:spMk id="19" creationId="{6D906074-CA93-0593-A2C0-282664A6F53C}"/>
          </ac:spMkLst>
        </pc:spChg>
        <pc:spChg chg="mod">
          <ac:chgData name="Fitzgerald, Madeline" userId="c680c3b0-1f97-40c6-b06e-80efdcdb988b" providerId="ADAL" clId="{B8BF1D00-457E-4F6C-BAC6-28E7879A2C39}" dt="2025-05-23T16:06:56.773" v="1273" actId="14100"/>
          <ac:spMkLst>
            <pc:docMk/>
            <pc:sldMk cId="144562284" sldId="469"/>
            <ac:spMk id="26" creationId="{10CBDADC-AC14-3231-F650-704220291FE0}"/>
          </ac:spMkLst>
        </pc:spChg>
        <pc:spChg chg="mod">
          <ac:chgData name="Fitzgerald, Madeline" userId="c680c3b0-1f97-40c6-b06e-80efdcdb988b" providerId="ADAL" clId="{B8BF1D00-457E-4F6C-BAC6-28E7879A2C39}" dt="2025-05-23T15:43:23.183" v="799" actId="14100"/>
          <ac:spMkLst>
            <pc:docMk/>
            <pc:sldMk cId="144562284" sldId="469"/>
            <ac:spMk id="27" creationId="{1B81EB66-CAA6-7571-14A5-F3373515A91F}"/>
          </ac:spMkLst>
        </pc:spChg>
        <pc:spChg chg="mod">
          <ac:chgData name="Fitzgerald, Madeline" userId="c680c3b0-1f97-40c6-b06e-80efdcdb988b" providerId="ADAL" clId="{B8BF1D00-457E-4F6C-BAC6-28E7879A2C39}" dt="2025-05-23T16:06:31.807" v="1256" actId="1035"/>
          <ac:spMkLst>
            <pc:docMk/>
            <pc:sldMk cId="144562284" sldId="469"/>
            <ac:spMk id="28" creationId="{05C74383-8A16-D14C-6089-52FDB5B8C368}"/>
          </ac:spMkLst>
        </pc:spChg>
        <pc:spChg chg="mod">
          <ac:chgData name="Fitzgerald, Madeline" userId="c680c3b0-1f97-40c6-b06e-80efdcdb988b" providerId="ADAL" clId="{B8BF1D00-457E-4F6C-BAC6-28E7879A2C39}" dt="2025-05-23T15:43:52.455" v="828" actId="1035"/>
          <ac:spMkLst>
            <pc:docMk/>
            <pc:sldMk cId="144562284" sldId="469"/>
            <ac:spMk id="29" creationId="{0BDE2E58-AD4C-2CD4-AA8E-D6E9622AA0AA}"/>
          </ac:spMkLst>
        </pc:spChg>
        <pc:spChg chg="mod">
          <ac:chgData name="Fitzgerald, Madeline" userId="c680c3b0-1f97-40c6-b06e-80efdcdb988b" providerId="ADAL" clId="{B8BF1D00-457E-4F6C-BAC6-28E7879A2C39}" dt="2025-05-23T15:44:07.444" v="842" actId="1035"/>
          <ac:spMkLst>
            <pc:docMk/>
            <pc:sldMk cId="144562284" sldId="469"/>
            <ac:spMk id="61" creationId="{520CF40D-5E49-EC94-547B-5A3FD2FD4149}"/>
          </ac:spMkLst>
        </pc:spChg>
        <pc:spChg chg="mod">
          <ac:chgData name="Fitzgerald, Madeline" userId="c680c3b0-1f97-40c6-b06e-80efdcdb988b" providerId="ADAL" clId="{B8BF1D00-457E-4F6C-BAC6-28E7879A2C39}" dt="2025-05-23T16:07:58.340" v="1277" actId="14100"/>
          <ac:spMkLst>
            <pc:docMk/>
            <pc:sldMk cId="144562284" sldId="469"/>
            <ac:spMk id="62" creationId="{951F2255-6125-EA93-F3B4-74A6F6065C39}"/>
          </ac:spMkLst>
        </pc:spChg>
        <pc:spChg chg="mod">
          <ac:chgData name="Fitzgerald, Madeline" userId="c680c3b0-1f97-40c6-b06e-80efdcdb988b" providerId="ADAL" clId="{B8BF1D00-457E-4F6C-BAC6-28E7879A2C39}" dt="2025-05-23T16:07:58.340" v="1277" actId="14100"/>
          <ac:spMkLst>
            <pc:docMk/>
            <pc:sldMk cId="144562284" sldId="469"/>
            <ac:spMk id="74" creationId="{A8B808EF-CC10-8170-B745-2DCC677D8587}"/>
          </ac:spMkLst>
        </pc:spChg>
        <pc:spChg chg="mod">
          <ac:chgData name="Fitzgerald, Madeline" userId="c680c3b0-1f97-40c6-b06e-80efdcdb988b" providerId="ADAL" clId="{B8BF1D00-457E-4F6C-BAC6-28E7879A2C39}" dt="2025-05-28T03:08:35.492" v="2110" actId="1035"/>
          <ac:spMkLst>
            <pc:docMk/>
            <pc:sldMk cId="144562284" sldId="469"/>
            <ac:spMk id="75" creationId="{A1558708-30F7-DA79-BC22-234DB8AC4DAF}"/>
          </ac:spMkLst>
        </pc:spChg>
        <pc:spChg chg="mod">
          <ac:chgData name="Fitzgerald, Madeline" userId="c680c3b0-1f97-40c6-b06e-80efdcdb988b" providerId="ADAL" clId="{B8BF1D00-457E-4F6C-BAC6-28E7879A2C39}" dt="2025-05-23T16:07:58.340" v="1277" actId="14100"/>
          <ac:spMkLst>
            <pc:docMk/>
            <pc:sldMk cId="144562284" sldId="469"/>
            <ac:spMk id="76" creationId="{AEEA1B93-CAAB-82DA-927A-FB260462FB16}"/>
          </ac:spMkLst>
        </pc:spChg>
        <pc:spChg chg="mod">
          <ac:chgData name="Fitzgerald, Madeline" userId="c680c3b0-1f97-40c6-b06e-80efdcdb988b" providerId="ADAL" clId="{B8BF1D00-457E-4F6C-BAC6-28E7879A2C39}" dt="2025-05-23T16:08:20.039" v="1284" actId="20577"/>
          <ac:spMkLst>
            <pc:docMk/>
            <pc:sldMk cId="144562284" sldId="469"/>
            <ac:spMk id="78" creationId="{934F18DE-0F03-C5E7-CE55-E9C31112E98A}"/>
          </ac:spMkLst>
        </pc:spChg>
        <pc:spChg chg="mod">
          <ac:chgData name="Fitzgerald, Madeline" userId="c680c3b0-1f97-40c6-b06e-80efdcdb988b" providerId="ADAL" clId="{B8BF1D00-457E-4F6C-BAC6-28E7879A2C39}" dt="2025-05-23T16:08:11.525" v="1280" actId="20577"/>
          <ac:spMkLst>
            <pc:docMk/>
            <pc:sldMk cId="144562284" sldId="469"/>
            <ac:spMk id="79" creationId="{FCF350DE-5779-1429-5A61-EBB340F862F0}"/>
          </ac:spMkLst>
        </pc:spChg>
        <pc:spChg chg="mod">
          <ac:chgData name="Fitzgerald, Madeline" userId="c680c3b0-1f97-40c6-b06e-80efdcdb988b" providerId="ADAL" clId="{B8BF1D00-457E-4F6C-BAC6-28E7879A2C39}" dt="2025-05-23T16:07:05.999" v="1274" actId="14100"/>
          <ac:spMkLst>
            <pc:docMk/>
            <pc:sldMk cId="144562284" sldId="469"/>
            <ac:spMk id="81" creationId="{24A8D879-A60E-E713-9AD7-442D5AF0353B}"/>
          </ac:spMkLst>
        </pc:spChg>
        <pc:spChg chg="mod">
          <ac:chgData name="Fitzgerald, Madeline" userId="c680c3b0-1f97-40c6-b06e-80efdcdb988b" providerId="ADAL" clId="{B8BF1D00-457E-4F6C-BAC6-28E7879A2C39}" dt="2025-05-23T16:07:05.999" v="1274" actId="14100"/>
          <ac:spMkLst>
            <pc:docMk/>
            <pc:sldMk cId="144562284" sldId="469"/>
            <ac:spMk id="83" creationId="{310AB517-4B38-6C61-47AB-FFA3800753C9}"/>
          </ac:spMkLst>
        </pc:spChg>
        <pc:graphicFrameChg chg="mod">
          <ac:chgData name="Fitzgerald, Madeline" userId="c680c3b0-1f97-40c6-b06e-80efdcdb988b" providerId="ADAL" clId="{B8BF1D00-457E-4F6C-BAC6-28E7879A2C39}" dt="2025-05-28T04:00:35.219" v="3026" actId="2711"/>
          <ac:graphicFrameMkLst>
            <pc:docMk/>
            <pc:sldMk cId="144562284" sldId="469"/>
            <ac:graphicFrameMk id="13" creationId="{D59ECC49-5A7C-516E-F415-9986DACC94B5}"/>
          </ac:graphicFrameMkLst>
        </pc:graphicFrameChg>
      </pc:sldChg>
      <pc:sldChg chg="addSp delSp modSp new mod setBg">
        <pc:chgData name="Fitzgerald, Madeline" userId="c680c3b0-1f97-40c6-b06e-80efdcdb988b" providerId="ADAL" clId="{B8BF1D00-457E-4F6C-BAC6-28E7879A2C39}" dt="2025-05-23T16:05:21.789" v="1209" actId="14100"/>
        <pc:sldMkLst>
          <pc:docMk/>
          <pc:sldMk cId="1057063938" sldId="470"/>
        </pc:sldMkLst>
        <pc:spChg chg="add mod">
          <ac:chgData name="Fitzgerald, Madeline" userId="c680c3b0-1f97-40c6-b06e-80efdcdb988b" providerId="ADAL" clId="{B8BF1D00-457E-4F6C-BAC6-28E7879A2C39}" dt="2025-05-23T16:05:13.973" v="1204" actId="1076"/>
          <ac:spMkLst>
            <pc:docMk/>
            <pc:sldMk cId="1057063938" sldId="470"/>
            <ac:spMk id="5" creationId="{2B967D11-0B8A-9EA4-5299-FA79C2FD70BD}"/>
          </ac:spMkLst>
        </pc:spChg>
        <pc:spChg chg="add mod">
          <ac:chgData name="Fitzgerald, Madeline" userId="c680c3b0-1f97-40c6-b06e-80efdcdb988b" providerId="ADAL" clId="{B8BF1D00-457E-4F6C-BAC6-28E7879A2C39}" dt="2025-05-23T16:03:53.363" v="1190" actId="14100"/>
          <ac:spMkLst>
            <pc:docMk/>
            <pc:sldMk cId="1057063938" sldId="470"/>
            <ac:spMk id="6" creationId="{E3B7B9BD-0904-86D9-2189-5E615C83F81E}"/>
          </ac:spMkLst>
        </pc:spChg>
        <pc:spChg chg="mod">
          <ac:chgData name="Fitzgerald, Madeline" userId="c680c3b0-1f97-40c6-b06e-80efdcdb988b" providerId="ADAL" clId="{B8BF1D00-457E-4F6C-BAC6-28E7879A2C39}" dt="2025-05-23T15:58:45.055" v="1013"/>
          <ac:spMkLst>
            <pc:docMk/>
            <pc:sldMk cId="1057063938" sldId="470"/>
            <ac:spMk id="13" creationId="{23AD5F02-AEB5-37F0-97ED-7D3139EDB034}"/>
          </ac:spMkLst>
        </pc:spChg>
        <pc:spChg chg="add mod">
          <ac:chgData name="Fitzgerald, Madeline" userId="c680c3b0-1f97-40c6-b06e-80efdcdb988b" providerId="ADAL" clId="{B8BF1D00-457E-4F6C-BAC6-28E7879A2C39}" dt="2025-05-23T16:05:21.789" v="1209" actId="14100"/>
          <ac:spMkLst>
            <pc:docMk/>
            <pc:sldMk cId="1057063938" sldId="470"/>
            <ac:spMk id="16" creationId="{B79F34B4-BF68-FA81-8999-06728AB9BF09}"/>
          </ac:spMkLst>
        </pc:spChg>
        <pc:spChg chg="add mod">
          <ac:chgData name="Fitzgerald, Madeline" userId="c680c3b0-1f97-40c6-b06e-80efdcdb988b" providerId="ADAL" clId="{B8BF1D00-457E-4F6C-BAC6-28E7879A2C39}" dt="2025-05-23T16:03:44.688" v="1188"/>
          <ac:spMkLst>
            <pc:docMk/>
            <pc:sldMk cId="1057063938" sldId="470"/>
            <ac:spMk id="19" creationId="{3A9F5127-6CC0-8461-B50A-451CFC7F5F53}"/>
          </ac:spMkLst>
        </pc:spChg>
        <pc:grpChg chg="add mod">
          <ac:chgData name="Fitzgerald, Madeline" userId="c680c3b0-1f97-40c6-b06e-80efdcdb988b" providerId="ADAL" clId="{B8BF1D00-457E-4F6C-BAC6-28E7879A2C39}" dt="2025-05-23T15:58:45.055" v="1013"/>
          <ac:grpSpMkLst>
            <pc:docMk/>
            <pc:sldMk cId="1057063938" sldId="470"/>
            <ac:grpSpMk id="12" creationId="{9982CF81-76B1-F9C9-3EEF-B068F2FCDFDC}"/>
          </ac:grpSpMkLst>
        </pc:grpChg>
        <pc:picChg chg="add mod">
          <ac:chgData name="Fitzgerald, Madeline" userId="c680c3b0-1f97-40c6-b06e-80efdcdb988b" providerId="ADAL" clId="{B8BF1D00-457E-4F6C-BAC6-28E7879A2C39}" dt="2025-05-23T16:03:57.379" v="1191" actId="1076"/>
          <ac:picMkLst>
            <pc:docMk/>
            <pc:sldMk cId="1057063938" sldId="470"/>
            <ac:picMk id="18" creationId="{77A94C10-C1F1-8A92-2785-0A53715B19D9}"/>
          </ac:picMkLst>
        </pc:picChg>
      </pc:sldChg>
      <pc:sldChg chg="delSp modSp add del mod setBg">
        <pc:chgData name="Fitzgerald, Madeline" userId="c680c3b0-1f97-40c6-b06e-80efdcdb988b" providerId="ADAL" clId="{B8BF1D00-457E-4F6C-BAC6-28E7879A2C39}" dt="2025-05-23T16:06:11.334" v="1240" actId="47"/>
        <pc:sldMkLst>
          <pc:docMk/>
          <pc:sldMk cId="3050049143" sldId="471"/>
        </pc:sldMkLst>
      </pc:sldChg>
      <pc:sldChg chg="modSp add mod setBg">
        <pc:chgData name="Fitzgerald, Madeline" userId="c680c3b0-1f97-40c6-b06e-80efdcdb988b" providerId="ADAL" clId="{B8BF1D00-457E-4F6C-BAC6-28E7879A2C39}" dt="2025-05-23T16:11:10.028" v="1331" actId="14100"/>
        <pc:sldMkLst>
          <pc:docMk/>
          <pc:sldMk cId="3920620697" sldId="472"/>
        </pc:sldMkLst>
        <pc:spChg chg="mod">
          <ac:chgData name="Fitzgerald, Madeline" userId="c680c3b0-1f97-40c6-b06e-80efdcdb988b" providerId="ADAL" clId="{B8BF1D00-457E-4F6C-BAC6-28E7879A2C39}" dt="2025-05-23T16:06:08.885" v="1239"/>
          <ac:spMkLst>
            <pc:docMk/>
            <pc:sldMk cId="3920620697" sldId="472"/>
            <ac:spMk id="5" creationId="{573BC6DE-5496-7729-1412-058ED6651B45}"/>
          </ac:spMkLst>
        </pc:spChg>
        <pc:spChg chg="mod">
          <ac:chgData name="Fitzgerald, Madeline" userId="c680c3b0-1f97-40c6-b06e-80efdcdb988b" providerId="ADAL" clId="{B8BF1D00-457E-4F6C-BAC6-28E7879A2C39}" dt="2025-05-23T16:05:57.886" v="1238" actId="20577"/>
          <ac:spMkLst>
            <pc:docMk/>
            <pc:sldMk cId="3920620697" sldId="472"/>
            <ac:spMk id="16" creationId="{BA4A6FEE-46DC-0277-62DD-1FDEABC01A55}"/>
          </ac:spMkLst>
        </pc:spChg>
        <pc:spChg chg="mod">
          <ac:chgData name="Fitzgerald, Madeline" userId="c680c3b0-1f97-40c6-b06e-80efdcdb988b" providerId="ADAL" clId="{B8BF1D00-457E-4F6C-BAC6-28E7879A2C39}" dt="2025-05-23T16:11:10.028" v="1331" actId="14100"/>
          <ac:spMkLst>
            <pc:docMk/>
            <pc:sldMk cId="3920620697" sldId="472"/>
            <ac:spMk id="19" creationId="{99FA6B1B-2E0E-A257-0F43-809478B5DFE3}"/>
          </ac:spMkLst>
        </pc:spChg>
      </pc:sldChg>
      <pc:sldChg chg="delSp modSp new mod">
        <pc:chgData name="Fitzgerald, Madeline" userId="c680c3b0-1f97-40c6-b06e-80efdcdb988b" providerId="ADAL" clId="{B8BF1D00-457E-4F6C-BAC6-28E7879A2C39}" dt="2025-05-23T16:10:27.414" v="1327" actId="478"/>
        <pc:sldMkLst>
          <pc:docMk/>
          <pc:sldMk cId="3616686143" sldId="473"/>
        </pc:sldMkLst>
        <pc:spChg chg="mod">
          <ac:chgData name="Fitzgerald, Madeline" userId="c680c3b0-1f97-40c6-b06e-80efdcdb988b" providerId="ADAL" clId="{B8BF1D00-457E-4F6C-BAC6-28E7879A2C39}" dt="2025-05-23T16:10:23.976" v="1325" actId="20577"/>
          <ac:spMkLst>
            <pc:docMk/>
            <pc:sldMk cId="3616686143" sldId="473"/>
            <ac:spMk id="4" creationId="{FBA045B2-91AB-507D-7F52-06A66352EF80}"/>
          </ac:spMkLst>
        </pc:spChg>
      </pc:sldChg>
      <pc:sldChg chg="addSp delSp modSp add mod">
        <pc:chgData name="Fitzgerald, Madeline" userId="c680c3b0-1f97-40c6-b06e-80efdcdb988b" providerId="ADAL" clId="{B8BF1D00-457E-4F6C-BAC6-28E7879A2C39}" dt="2025-05-28T04:02:51.523" v="3045" actId="207"/>
        <pc:sldMkLst>
          <pc:docMk/>
          <pc:sldMk cId="2203974627" sldId="476"/>
        </pc:sldMkLst>
        <pc:spChg chg="del">
          <ac:chgData name="Fitzgerald, Madeline" userId="c680c3b0-1f97-40c6-b06e-80efdcdb988b" providerId="ADAL" clId="{B8BF1D00-457E-4F6C-BAC6-28E7879A2C39}" dt="2025-05-28T03:47:00.404" v="2876" actId="478"/>
          <ac:spMkLst>
            <pc:docMk/>
            <pc:sldMk cId="2203974627" sldId="476"/>
            <ac:spMk id="3" creationId="{CE581530-1F07-CFF1-C943-FAAF7138FA23}"/>
          </ac:spMkLst>
        </pc:spChg>
        <pc:spChg chg="mod">
          <ac:chgData name="Fitzgerald, Madeline" userId="c680c3b0-1f97-40c6-b06e-80efdcdb988b" providerId="ADAL" clId="{B8BF1D00-457E-4F6C-BAC6-28E7879A2C39}" dt="2025-05-28T03:46:27.975" v="2870" actId="20577"/>
          <ac:spMkLst>
            <pc:docMk/>
            <pc:sldMk cId="2203974627" sldId="476"/>
            <ac:spMk id="4" creationId="{36FA7053-AB29-2AD2-0426-08FC77A898B7}"/>
          </ac:spMkLst>
        </pc:spChg>
        <pc:spChg chg="add mod">
          <ac:chgData name="Fitzgerald, Madeline" userId="c680c3b0-1f97-40c6-b06e-80efdcdb988b" providerId="ADAL" clId="{B8BF1D00-457E-4F6C-BAC6-28E7879A2C39}" dt="2025-05-28T03:46:17.745" v="2824" actId="20577"/>
          <ac:spMkLst>
            <pc:docMk/>
            <pc:sldMk cId="2203974627" sldId="476"/>
            <ac:spMk id="5" creationId="{0B37CA14-6591-F03F-BB5C-7E19E53C5D4B}"/>
          </ac:spMkLst>
        </pc:spChg>
        <pc:spChg chg="add mod">
          <ac:chgData name="Fitzgerald, Madeline" userId="c680c3b0-1f97-40c6-b06e-80efdcdb988b" providerId="ADAL" clId="{B8BF1D00-457E-4F6C-BAC6-28E7879A2C39}" dt="2025-05-28T03:46:54.536" v="2875" actId="20577"/>
          <ac:spMkLst>
            <pc:docMk/>
            <pc:sldMk cId="2203974627" sldId="476"/>
            <ac:spMk id="6" creationId="{29E1779D-E842-C797-BD3F-EE7FDB131A42}"/>
          </ac:spMkLst>
        </pc:spChg>
        <pc:spChg chg="add mod">
          <ac:chgData name="Fitzgerald, Madeline" userId="c680c3b0-1f97-40c6-b06e-80efdcdb988b" providerId="ADAL" clId="{B8BF1D00-457E-4F6C-BAC6-28E7879A2C39}" dt="2025-05-28T03:45:41.163" v="2750" actId="20577"/>
          <ac:spMkLst>
            <pc:docMk/>
            <pc:sldMk cId="2203974627" sldId="476"/>
            <ac:spMk id="7" creationId="{456924E5-4BB8-CB84-47C5-46E5252359B3}"/>
          </ac:spMkLst>
        </pc:spChg>
        <pc:spChg chg="mod">
          <ac:chgData name="Fitzgerald, Madeline" userId="c680c3b0-1f97-40c6-b06e-80efdcdb988b" providerId="ADAL" clId="{B8BF1D00-457E-4F6C-BAC6-28E7879A2C39}" dt="2025-05-28T03:46:03.693" v="2814" actId="20577"/>
          <ac:spMkLst>
            <pc:docMk/>
            <pc:sldMk cId="2203974627" sldId="476"/>
            <ac:spMk id="18" creationId="{91EADCB6-7738-AD3E-AF3F-47DC3919F8D9}"/>
          </ac:spMkLst>
        </pc:spChg>
        <pc:spChg chg="mod">
          <ac:chgData name="Fitzgerald, Madeline" userId="c680c3b0-1f97-40c6-b06e-80efdcdb988b" providerId="ADAL" clId="{B8BF1D00-457E-4F6C-BAC6-28E7879A2C39}" dt="2025-05-28T03:45:19.684" v="2692" actId="20577"/>
          <ac:spMkLst>
            <pc:docMk/>
            <pc:sldMk cId="2203974627" sldId="476"/>
            <ac:spMk id="19" creationId="{6D906074-CA93-0593-A2C0-282664A6F53C}"/>
          </ac:spMkLst>
        </pc:spChg>
        <pc:spChg chg="mod">
          <ac:chgData name="Fitzgerald, Madeline" userId="c680c3b0-1f97-40c6-b06e-80efdcdb988b" providerId="ADAL" clId="{B8BF1D00-457E-4F6C-BAC6-28E7879A2C39}" dt="2025-05-28T03:45:31.718" v="2744" actId="20577"/>
          <ac:spMkLst>
            <pc:docMk/>
            <pc:sldMk cId="2203974627" sldId="476"/>
            <ac:spMk id="26" creationId="{10CBDADC-AC14-3231-F650-704220291FE0}"/>
          </ac:spMkLst>
        </pc:spChg>
        <pc:spChg chg="mod">
          <ac:chgData name="Fitzgerald, Madeline" userId="c680c3b0-1f97-40c6-b06e-80efdcdb988b" providerId="ADAL" clId="{B8BF1D00-457E-4F6C-BAC6-28E7879A2C39}" dt="2025-05-28T03:46:33.623" v="2874" actId="20577"/>
          <ac:spMkLst>
            <pc:docMk/>
            <pc:sldMk cId="2203974627" sldId="476"/>
            <ac:spMk id="78" creationId="{934F18DE-0F03-C5E7-CE55-E9C31112E98A}"/>
          </ac:spMkLst>
        </pc:spChg>
        <pc:spChg chg="del">
          <ac:chgData name="Fitzgerald, Madeline" userId="c680c3b0-1f97-40c6-b06e-80efdcdb988b" providerId="ADAL" clId="{B8BF1D00-457E-4F6C-BAC6-28E7879A2C39}" dt="2025-05-28T03:43:20.141" v="2635" actId="478"/>
          <ac:spMkLst>
            <pc:docMk/>
            <pc:sldMk cId="2203974627" sldId="476"/>
            <ac:spMk id="79" creationId="{FCF350DE-5779-1429-5A61-EBB340F862F0}"/>
          </ac:spMkLst>
        </pc:spChg>
        <pc:spChg chg="del">
          <ac:chgData name="Fitzgerald, Madeline" userId="c680c3b0-1f97-40c6-b06e-80efdcdb988b" providerId="ADAL" clId="{B8BF1D00-457E-4F6C-BAC6-28E7879A2C39}" dt="2025-05-28T03:43:28.700" v="2638" actId="478"/>
          <ac:spMkLst>
            <pc:docMk/>
            <pc:sldMk cId="2203974627" sldId="476"/>
            <ac:spMk id="81" creationId="{24A8D879-A60E-E713-9AD7-442D5AF0353B}"/>
          </ac:spMkLst>
        </pc:spChg>
        <pc:spChg chg="del">
          <ac:chgData name="Fitzgerald, Madeline" userId="c680c3b0-1f97-40c6-b06e-80efdcdb988b" providerId="ADAL" clId="{B8BF1D00-457E-4F6C-BAC6-28E7879A2C39}" dt="2025-05-28T03:43:42.451" v="2641" actId="478"/>
          <ac:spMkLst>
            <pc:docMk/>
            <pc:sldMk cId="2203974627" sldId="476"/>
            <ac:spMk id="83" creationId="{310AB517-4B38-6C61-47AB-FFA3800753C9}"/>
          </ac:spMkLst>
        </pc:spChg>
        <pc:graphicFrameChg chg="add mod">
          <ac:chgData name="Fitzgerald, Madeline" userId="c680c3b0-1f97-40c6-b06e-80efdcdb988b" providerId="ADAL" clId="{B8BF1D00-457E-4F6C-BAC6-28E7879A2C39}" dt="2025-05-28T04:02:51.523" v="3045" actId="207"/>
          <ac:graphicFrameMkLst>
            <pc:docMk/>
            <pc:sldMk cId="2203974627" sldId="476"/>
            <ac:graphicFrameMk id="8" creationId="{5EC31CED-CF71-2BA7-CAC4-6F08D55E8F3F}"/>
          </ac:graphicFrameMkLst>
        </pc:graphicFrameChg>
      </pc:sldChg>
      <pc:sldChg chg="addSp delSp modSp add mod modAnim">
        <pc:chgData name="Fitzgerald, Madeline" userId="c680c3b0-1f97-40c6-b06e-80efdcdb988b" providerId="ADAL" clId="{B8BF1D00-457E-4F6C-BAC6-28E7879A2C39}" dt="2025-05-28T04:02:04.785" v="3038" actId="207"/>
        <pc:sldMkLst>
          <pc:docMk/>
          <pc:sldMk cId="3965168504" sldId="477"/>
        </pc:sldMkLst>
        <pc:spChg chg="mod">
          <ac:chgData name="Fitzgerald, Madeline" userId="c680c3b0-1f97-40c6-b06e-80efdcdb988b" providerId="ADAL" clId="{B8BF1D00-457E-4F6C-BAC6-28E7879A2C39}" dt="2025-05-28T03:55:14.010" v="2975" actId="1036"/>
          <ac:spMkLst>
            <pc:docMk/>
            <pc:sldMk cId="3965168504" sldId="477"/>
            <ac:spMk id="2" creationId="{77FF1668-DE81-B69A-A872-C2CD5CC3D252}"/>
          </ac:spMkLst>
        </pc:spChg>
        <pc:spChg chg="add mod">
          <ac:chgData name="Fitzgerald, Madeline" userId="c680c3b0-1f97-40c6-b06e-80efdcdb988b" providerId="ADAL" clId="{B8BF1D00-457E-4F6C-BAC6-28E7879A2C39}" dt="2025-05-28T03:57:04.609" v="2991" actId="207"/>
          <ac:spMkLst>
            <pc:docMk/>
            <pc:sldMk cId="3965168504" sldId="477"/>
            <ac:spMk id="3" creationId="{697E9D25-BA7F-92F8-ACAD-0A40414CFC57}"/>
          </ac:spMkLst>
        </pc:spChg>
        <pc:spChg chg="add mod">
          <ac:chgData name="Fitzgerald, Madeline" userId="c680c3b0-1f97-40c6-b06e-80efdcdb988b" providerId="ADAL" clId="{B8BF1D00-457E-4F6C-BAC6-28E7879A2C39}" dt="2025-05-28T03:56:48.863" v="2988" actId="207"/>
          <ac:spMkLst>
            <pc:docMk/>
            <pc:sldMk cId="3965168504" sldId="477"/>
            <ac:spMk id="5" creationId="{D64D6D43-51DE-CE78-39D6-BACBA3A4E318}"/>
          </ac:spMkLst>
        </pc:spChg>
        <pc:spChg chg="mod">
          <ac:chgData name="Fitzgerald, Madeline" userId="c680c3b0-1f97-40c6-b06e-80efdcdb988b" providerId="ADAL" clId="{B8BF1D00-457E-4F6C-BAC6-28E7879A2C39}" dt="2025-05-28T03:58:54.851" v="3011" actId="20577"/>
          <ac:spMkLst>
            <pc:docMk/>
            <pc:sldMk cId="3965168504" sldId="477"/>
            <ac:spMk id="6" creationId="{C28B83C4-B5AE-96BF-C704-486E9E9FF9CB}"/>
          </ac:spMkLst>
        </pc:spChg>
        <pc:spChg chg="add mod">
          <ac:chgData name="Fitzgerald, Madeline" userId="c680c3b0-1f97-40c6-b06e-80efdcdb988b" providerId="ADAL" clId="{B8BF1D00-457E-4F6C-BAC6-28E7879A2C39}" dt="2025-05-28T03:58:14.558" v="3000" actId="14100"/>
          <ac:spMkLst>
            <pc:docMk/>
            <pc:sldMk cId="3965168504" sldId="477"/>
            <ac:spMk id="8" creationId="{8019E57B-5CCD-57A5-D4CE-874D8A2703BE}"/>
          </ac:spMkLst>
        </pc:spChg>
        <pc:spChg chg="mod">
          <ac:chgData name="Fitzgerald, Madeline" userId="c680c3b0-1f97-40c6-b06e-80efdcdb988b" providerId="ADAL" clId="{B8BF1D00-457E-4F6C-BAC6-28E7879A2C39}" dt="2025-05-28T03:53:14.275" v="2953" actId="14100"/>
          <ac:spMkLst>
            <pc:docMk/>
            <pc:sldMk cId="3965168504" sldId="477"/>
            <ac:spMk id="9" creationId="{7EB9071E-46B0-EC98-74CC-E4FE3EF64B96}"/>
          </ac:spMkLst>
        </pc:spChg>
        <pc:spChg chg="mod">
          <ac:chgData name="Fitzgerald, Madeline" userId="c680c3b0-1f97-40c6-b06e-80efdcdb988b" providerId="ADAL" clId="{B8BF1D00-457E-4F6C-BAC6-28E7879A2C39}" dt="2025-05-28T03:55:14.010" v="2975" actId="1036"/>
          <ac:spMkLst>
            <pc:docMk/>
            <pc:sldMk cId="3965168504" sldId="477"/>
            <ac:spMk id="10" creationId="{5762E4B6-11B6-6CD9-6CAB-509FC0ACA79D}"/>
          </ac:spMkLst>
        </pc:spChg>
        <pc:spChg chg="mod">
          <ac:chgData name="Fitzgerald, Madeline" userId="c680c3b0-1f97-40c6-b06e-80efdcdb988b" providerId="ADAL" clId="{B8BF1D00-457E-4F6C-BAC6-28E7879A2C39}" dt="2025-05-28T03:58:14.558" v="3000" actId="14100"/>
          <ac:spMkLst>
            <pc:docMk/>
            <pc:sldMk cId="3965168504" sldId="477"/>
            <ac:spMk id="11" creationId="{614610D6-B835-C70A-B762-759BA860A391}"/>
          </ac:spMkLst>
        </pc:spChg>
        <pc:spChg chg="add mod">
          <ac:chgData name="Fitzgerald, Madeline" userId="c680c3b0-1f97-40c6-b06e-80efdcdb988b" providerId="ADAL" clId="{B8BF1D00-457E-4F6C-BAC6-28E7879A2C39}" dt="2025-05-28T03:56:57.145" v="2990" actId="207"/>
          <ac:spMkLst>
            <pc:docMk/>
            <pc:sldMk cId="3965168504" sldId="477"/>
            <ac:spMk id="12" creationId="{676B27F8-D197-EBE6-6513-3AD1436D8B75}"/>
          </ac:spMkLst>
        </pc:spChg>
        <pc:spChg chg="add mod">
          <ac:chgData name="Fitzgerald, Madeline" userId="c680c3b0-1f97-40c6-b06e-80efdcdb988b" providerId="ADAL" clId="{B8BF1D00-457E-4F6C-BAC6-28E7879A2C39}" dt="2025-05-28T03:58:27.103" v="3001" actId="14100"/>
          <ac:spMkLst>
            <pc:docMk/>
            <pc:sldMk cId="3965168504" sldId="477"/>
            <ac:spMk id="13" creationId="{5B2C8EDA-2508-64A0-6DAE-DA3CDEBB6E4B}"/>
          </ac:spMkLst>
        </pc:spChg>
        <pc:spChg chg="add mod">
          <ac:chgData name="Fitzgerald, Madeline" userId="c680c3b0-1f97-40c6-b06e-80efdcdb988b" providerId="ADAL" clId="{B8BF1D00-457E-4F6C-BAC6-28E7879A2C39}" dt="2025-05-28T03:58:35.898" v="3007" actId="1036"/>
          <ac:spMkLst>
            <pc:docMk/>
            <pc:sldMk cId="3965168504" sldId="477"/>
            <ac:spMk id="14" creationId="{25EA01F6-2F6C-B70F-FDC2-F1A8E1BE551B}"/>
          </ac:spMkLst>
        </pc:spChg>
        <pc:spChg chg="add mod">
          <ac:chgData name="Fitzgerald, Madeline" userId="c680c3b0-1f97-40c6-b06e-80efdcdb988b" providerId="ADAL" clId="{B8BF1D00-457E-4F6C-BAC6-28E7879A2C39}" dt="2025-05-28T03:56:52.070" v="2989" actId="207"/>
          <ac:spMkLst>
            <pc:docMk/>
            <pc:sldMk cId="3965168504" sldId="477"/>
            <ac:spMk id="15" creationId="{FD4245FB-F396-D87B-AB0E-508B9FE2FDEC}"/>
          </ac:spMkLst>
        </pc:spChg>
        <pc:spChg chg="add mod">
          <ac:chgData name="Fitzgerald, Madeline" userId="c680c3b0-1f97-40c6-b06e-80efdcdb988b" providerId="ADAL" clId="{B8BF1D00-457E-4F6C-BAC6-28E7879A2C39}" dt="2025-05-28T03:58:35.898" v="3007" actId="1036"/>
          <ac:spMkLst>
            <pc:docMk/>
            <pc:sldMk cId="3965168504" sldId="477"/>
            <ac:spMk id="16" creationId="{F2316FE4-E2B2-FC5D-209B-BBBF77CFC91F}"/>
          </ac:spMkLst>
        </pc:spChg>
        <pc:spChg chg="add mod">
          <ac:chgData name="Fitzgerald, Madeline" userId="c680c3b0-1f97-40c6-b06e-80efdcdb988b" providerId="ADAL" clId="{B8BF1D00-457E-4F6C-BAC6-28E7879A2C39}" dt="2025-05-28T03:57:29.919" v="2995" actId="207"/>
          <ac:spMkLst>
            <pc:docMk/>
            <pc:sldMk cId="3965168504" sldId="477"/>
            <ac:spMk id="17" creationId="{968EA497-DEF8-312F-58AE-0322FF15E425}"/>
          </ac:spMkLst>
        </pc:spChg>
        <pc:spChg chg="mod">
          <ac:chgData name="Fitzgerald, Madeline" userId="c680c3b0-1f97-40c6-b06e-80efdcdb988b" providerId="ADAL" clId="{B8BF1D00-457E-4F6C-BAC6-28E7879A2C39}" dt="2025-05-28T03:54:11.182" v="2960" actId="1076"/>
          <ac:spMkLst>
            <pc:docMk/>
            <pc:sldMk cId="3965168504" sldId="477"/>
            <ac:spMk id="20" creationId="{F7566970-DCF3-E1AB-41A8-EECB0CDE81CC}"/>
          </ac:spMkLst>
        </pc:spChg>
        <pc:spChg chg="mod">
          <ac:chgData name="Fitzgerald, Madeline" userId="c680c3b0-1f97-40c6-b06e-80efdcdb988b" providerId="ADAL" clId="{B8BF1D00-457E-4F6C-BAC6-28E7879A2C39}" dt="2025-05-28T03:58:27.103" v="3001" actId="14100"/>
          <ac:spMkLst>
            <pc:docMk/>
            <pc:sldMk cId="3965168504" sldId="477"/>
            <ac:spMk id="21" creationId="{D1A0B2A9-5E5C-AFFA-244E-E34C696C52C8}"/>
          </ac:spMkLst>
        </pc:spChg>
        <pc:spChg chg="mod">
          <ac:chgData name="Fitzgerald, Madeline" userId="c680c3b0-1f97-40c6-b06e-80efdcdb988b" providerId="ADAL" clId="{B8BF1D00-457E-4F6C-BAC6-28E7879A2C39}" dt="2025-05-28T03:58:39.377" v="3008" actId="20577"/>
          <ac:spMkLst>
            <pc:docMk/>
            <pc:sldMk cId="3965168504" sldId="477"/>
            <ac:spMk id="22" creationId="{6C40612A-96E2-C0A6-B30A-85656515D494}"/>
          </ac:spMkLst>
        </pc:spChg>
        <pc:spChg chg="mod">
          <ac:chgData name="Fitzgerald, Madeline" userId="c680c3b0-1f97-40c6-b06e-80efdcdb988b" providerId="ADAL" clId="{B8BF1D00-457E-4F6C-BAC6-28E7879A2C39}" dt="2025-05-28T03:58:14.558" v="3000" actId="14100"/>
          <ac:spMkLst>
            <pc:docMk/>
            <pc:sldMk cId="3965168504" sldId="477"/>
            <ac:spMk id="24" creationId="{7B38EC4A-C6FF-05E2-FF86-489316DC9020}"/>
          </ac:spMkLst>
        </pc:spChg>
        <pc:spChg chg="mod">
          <ac:chgData name="Fitzgerald, Madeline" userId="c680c3b0-1f97-40c6-b06e-80efdcdb988b" providerId="ADAL" clId="{B8BF1D00-457E-4F6C-BAC6-28E7879A2C39}" dt="2025-05-28T03:55:52.275" v="2979" actId="20577"/>
          <ac:spMkLst>
            <pc:docMk/>
            <pc:sldMk cId="3965168504" sldId="477"/>
            <ac:spMk id="26" creationId="{C79EDEB7-5269-A1FA-A107-7CC6BF9710D2}"/>
          </ac:spMkLst>
        </pc:spChg>
        <pc:spChg chg="mod">
          <ac:chgData name="Fitzgerald, Madeline" userId="c680c3b0-1f97-40c6-b06e-80efdcdb988b" providerId="ADAL" clId="{B8BF1D00-457E-4F6C-BAC6-28E7879A2C39}" dt="2025-05-28T03:58:27.103" v="3001" actId="14100"/>
          <ac:spMkLst>
            <pc:docMk/>
            <pc:sldMk cId="3965168504" sldId="477"/>
            <ac:spMk id="27" creationId="{D0A18775-F9CC-9B4C-9A89-44B4AF07FFA5}"/>
          </ac:spMkLst>
        </pc:spChg>
        <pc:spChg chg="mod">
          <ac:chgData name="Fitzgerald, Madeline" userId="c680c3b0-1f97-40c6-b06e-80efdcdb988b" providerId="ADAL" clId="{B8BF1D00-457E-4F6C-BAC6-28E7879A2C39}" dt="2025-05-28T03:58:35.898" v="3007" actId="1036"/>
          <ac:spMkLst>
            <pc:docMk/>
            <pc:sldMk cId="3965168504" sldId="477"/>
            <ac:spMk id="28" creationId="{53A0E7D3-653D-D1F2-C87B-845431C8D48B}"/>
          </ac:spMkLst>
        </pc:spChg>
        <pc:spChg chg="mod">
          <ac:chgData name="Fitzgerald, Madeline" userId="c680c3b0-1f97-40c6-b06e-80efdcdb988b" providerId="ADAL" clId="{B8BF1D00-457E-4F6C-BAC6-28E7879A2C39}" dt="2025-05-28T03:55:14.010" v="2975" actId="1036"/>
          <ac:spMkLst>
            <pc:docMk/>
            <pc:sldMk cId="3965168504" sldId="477"/>
            <ac:spMk id="29" creationId="{836283A8-2717-CBA3-8C92-9B7B505BC7AB}"/>
          </ac:spMkLst>
        </pc:spChg>
        <pc:spChg chg="mod">
          <ac:chgData name="Fitzgerald, Madeline" userId="c680c3b0-1f97-40c6-b06e-80efdcdb988b" providerId="ADAL" clId="{B8BF1D00-457E-4F6C-BAC6-28E7879A2C39}" dt="2025-05-28T03:53:14.275" v="2953" actId="14100"/>
          <ac:spMkLst>
            <pc:docMk/>
            <pc:sldMk cId="3965168504" sldId="477"/>
            <ac:spMk id="30" creationId="{321AE410-4130-4D58-7E7E-2BBB4DE0B2E3}"/>
          </ac:spMkLst>
        </pc:spChg>
        <pc:spChg chg="mod">
          <ac:chgData name="Fitzgerald, Madeline" userId="c680c3b0-1f97-40c6-b06e-80efdcdb988b" providerId="ADAL" clId="{B8BF1D00-457E-4F6C-BAC6-28E7879A2C39}" dt="2025-05-28T03:58:35.898" v="3007" actId="1036"/>
          <ac:spMkLst>
            <pc:docMk/>
            <pc:sldMk cId="3965168504" sldId="477"/>
            <ac:spMk id="33" creationId="{01BC83BE-7D85-93B4-1821-61F2017650B0}"/>
          </ac:spMkLst>
        </pc:spChg>
        <pc:spChg chg="mod">
          <ac:chgData name="Fitzgerald, Madeline" userId="c680c3b0-1f97-40c6-b06e-80efdcdb988b" providerId="ADAL" clId="{B8BF1D00-457E-4F6C-BAC6-28E7879A2C39}" dt="2025-05-28T03:58:35.898" v="3007" actId="1036"/>
          <ac:spMkLst>
            <pc:docMk/>
            <pc:sldMk cId="3965168504" sldId="477"/>
            <ac:spMk id="34" creationId="{1632985F-A745-FD1E-8D07-2CA1D82FE00F}"/>
          </ac:spMkLst>
        </pc:spChg>
        <pc:graphicFrameChg chg="add mod">
          <ac:chgData name="Fitzgerald, Madeline" userId="c680c3b0-1f97-40c6-b06e-80efdcdb988b" providerId="ADAL" clId="{B8BF1D00-457E-4F6C-BAC6-28E7879A2C39}" dt="2025-05-28T04:02:04.785" v="3038" actId="207"/>
          <ac:graphicFrameMkLst>
            <pc:docMk/>
            <pc:sldMk cId="3965168504" sldId="477"/>
            <ac:graphicFrameMk id="23" creationId="{F250080C-070B-7CF9-6EE0-B19C90DD1178}"/>
          </ac:graphicFrameMkLst>
        </pc:graphicFrameChg>
        <pc:graphicFrameChg chg="del mod">
          <ac:chgData name="Fitzgerald, Madeline" userId="c680c3b0-1f97-40c6-b06e-80efdcdb988b" providerId="ADAL" clId="{B8BF1D00-457E-4F6C-BAC6-28E7879A2C39}" dt="2025-05-28T04:01:41.096" v="3035" actId="478"/>
          <ac:graphicFrameMkLst>
            <pc:docMk/>
            <pc:sldMk cId="3965168504" sldId="477"/>
            <ac:graphicFrameMk id="25" creationId="{5DAECD4A-E3F1-8C79-8655-64D2E8517BCC}"/>
          </ac:graphicFrameMkLst>
        </pc:graphicFrameChg>
        <pc:cxnChg chg="mod">
          <ac:chgData name="Fitzgerald, Madeline" userId="c680c3b0-1f97-40c6-b06e-80efdcdb988b" providerId="ADAL" clId="{B8BF1D00-457E-4F6C-BAC6-28E7879A2C39}" dt="2025-05-28T03:58:50.942" v="3010" actId="14100"/>
          <ac:cxnSpMkLst>
            <pc:docMk/>
            <pc:sldMk cId="3965168504" sldId="477"/>
            <ac:cxnSpMk id="32" creationId="{48FE321E-6F8A-E2FD-2F6B-958965B75410}"/>
          </ac:cxnSpMkLst>
        </pc:cxnChg>
      </pc:sldChg>
      <pc:sldMasterChg chg="modSldLayout">
        <pc:chgData name="Fitzgerald, Madeline" userId="c680c3b0-1f97-40c6-b06e-80efdcdb988b" providerId="ADAL" clId="{B8BF1D00-457E-4F6C-BAC6-28E7879A2C39}" dt="2025-05-23T15:57:23.762" v="1000" actId="478"/>
        <pc:sldMasterMkLst>
          <pc:docMk/>
          <pc:sldMasterMk cId="2659633419" sldId="2147483679"/>
        </pc:sldMasterMkLst>
        <pc:sldLayoutChg chg="delSp mod">
          <pc:chgData name="Fitzgerald, Madeline" userId="c680c3b0-1f97-40c6-b06e-80efdcdb988b" providerId="ADAL" clId="{B8BF1D00-457E-4F6C-BAC6-28E7879A2C39}" dt="2025-05-23T15:57:23.762" v="1000" actId="478"/>
          <pc:sldLayoutMkLst>
            <pc:docMk/>
            <pc:sldMasterMk cId="2659633419" sldId="2147483679"/>
            <pc:sldLayoutMk cId="1588535321" sldId="2147483732"/>
          </pc:sldLayoutMkLst>
        </pc:sldLayoutChg>
        <pc:sldLayoutChg chg="delSp mod">
          <pc:chgData name="Fitzgerald, Madeline" userId="c680c3b0-1f97-40c6-b06e-80efdcdb988b" providerId="ADAL" clId="{B8BF1D00-457E-4F6C-BAC6-28E7879A2C39}" dt="2025-05-20T19:24:24.994" v="122" actId="478"/>
          <pc:sldLayoutMkLst>
            <pc:docMk/>
            <pc:sldMasterMk cId="2659633419" sldId="2147483679"/>
            <pc:sldLayoutMk cId="1265000485" sldId="2147483740"/>
          </pc:sldLayoutMkLst>
        </pc:sldLayoutChg>
      </pc:sldMasterChg>
    </pc:docChg>
  </pc:docChgLst>
  <pc:docChgLst>
    <pc:chgData name="Chris Gassman (he/him), CSB" userId="255d5b90-e4b1-47f3-87d9-bbdebc731cf9" providerId="ADAL" clId="{A1063716-D93A-4129-9E07-FB1A80FD0C49}"/>
    <pc:docChg chg="undo custSel addSld delSld modSld">
      <pc:chgData name="Chris Gassman (he/him), CSB" userId="255d5b90-e4b1-47f3-87d9-bbdebc731cf9" providerId="ADAL" clId="{A1063716-D93A-4129-9E07-FB1A80FD0C49}" dt="2025-05-24T01:55:52.927" v="622"/>
      <pc:docMkLst>
        <pc:docMk/>
      </pc:docMkLst>
      <pc:sldChg chg="addSp delSp modSp mod">
        <pc:chgData name="Chris Gassman (he/him), CSB" userId="255d5b90-e4b1-47f3-87d9-bbdebc731cf9" providerId="ADAL" clId="{A1063716-D93A-4129-9E07-FB1A80FD0C49}" dt="2025-05-24T01:48:13.724" v="570"/>
        <pc:sldMkLst>
          <pc:docMk/>
          <pc:sldMk cId="852523260" sldId="357"/>
        </pc:sldMkLst>
        <pc:spChg chg="mod">
          <ac:chgData name="Chris Gassman (he/him), CSB" userId="255d5b90-e4b1-47f3-87d9-bbdebc731cf9" providerId="ADAL" clId="{A1063716-D93A-4129-9E07-FB1A80FD0C49}" dt="2025-05-23T23:59:43.542" v="424" actId="1076"/>
          <ac:spMkLst>
            <pc:docMk/>
            <pc:sldMk cId="852523260" sldId="357"/>
            <ac:spMk id="3" creationId="{9381B3BA-E0A5-457F-93F2-309E3BFD923A}"/>
          </ac:spMkLst>
        </pc:spChg>
        <pc:spChg chg="mod">
          <ac:chgData name="Chris Gassman (he/him), CSB" userId="255d5b90-e4b1-47f3-87d9-bbdebc731cf9" providerId="ADAL" clId="{A1063716-D93A-4129-9E07-FB1A80FD0C49}" dt="2025-05-23T23:05:03.892" v="421" actId="790"/>
          <ac:spMkLst>
            <pc:docMk/>
            <pc:sldMk cId="852523260" sldId="357"/>
            <ac:spMk id="8" creationId="{B334697F-2FF7-EA90-D4CB-E8BDB567C388}"/>
          </ac:spMkLst>
        </pc:spChg>
        <pc:spChg chg="mod">
          <ac:chgData name="Chris Gassman (he/him), CSB" userId="255d5b90-e4b1-47f3-87d9-bbdebc731cf9" providerId="ADAL" clId="{A1063716-D93A-4129-9E07-FB1A80FD0C49}" dt="2025-05-23T23:05:03.892" v="421" actId="790"/>
          <ac:spMkLst>
            <pc:docMk/>
            <pc:sldMk cId="852523260" sldId="357"/>
            <ac:spMk id="13" creationId="{54C2ED8C-E4B0-42D1-1E48-10F2983B0581}"/>
          </ac:spMkLst>
        </pc:spChg>
        <pc:graphicFrameChg chg="add mod modGraphic">
          <ac:chgData name="Chris Gassman (he/him), CSB" userId="255d5b90-e4b1-47f3-87d9-bbdebc731cf9" providerId="ADAL" clId="{A1063716-D93A-4129-9E07-FB1A80FD0C49}" dt="2025-05-23T23:05:03.892" v="421" actId="790"/>
          <ac:graphicFrameMkLst>
            <pc:docMk/>
            <pc:sldMk cId="852523260" sldId="357"/>
            <ac:graphicFrameMk id="2" creationId="{74B6B0E8-11AD-E2B2-524B-42051C4D66A3}"/>
          </ac:graphicFrameMkLst>
        </pc:graphicFrameChg>
      </pc:sldChg>
      <pc:sldChg chg="modSp mod">
        <pc:chgData name="Chris Gassman (he/him), CSB" userId="255d5b90-e4b1-47f3-87d9-bbdebc731cf9" providerId="ADAL" clId="{A1063716-D93A-4129-9E07-FB1A80FD0C49}" dt="2025-05-23T23:05:03.892" v="421" actId="790"/>
        <pc:sldMkLst>
          <pc:docMk/>
          <pc:sldMk cId="3848777021" sldId="359"/>
        </pc:sldMkLst>
        <pc:spChg chg="mod">
          <ac:chgData name="Chris Gassman (he/him), CSB" userId="255d5b90-e4b1-47f3-87d9-bbdebc731cf9" providerId="ADAL" clId="{A1063716-D93A-4129-9E07-FB1A80FD0C49}" dt="2025-05-23T23:05:03.892" v="421" actId="790"/>
          <ac:spMkLst>
            <pc:docMk/>
            <pc:sldMk cId="3848777021" sldId="359"/>
            <ac:spMk id="2" creationId="{EC8D77D6-A2C7-812E-F3AD-5420C2FD8569}"/>
          </ac:spMkLst>
        </pc:spChg>
        <pc:spChg chg="mod">
          <ac:chgData name="Chris Gassman (he/him), CSB" userId="255d5b90-e4b1-47f3-87d9-bbdebc731cf9" providerId="ADAL" clId="{A1063716-D93A-4129-9E07-FB1A80FD0C49}" dt="2025-05-23T23:05:03.892" v="421" actId="790"/>
          <ac:spMkLst>
            <pc:docMk/>
            <pc:sldMk cId="3848777021" sldId="359"/>
            <ac:spMk id="3" creationId="{C7025FA0-72B7-8235-3082-2360CA4EEC0D}"/>
          </ac:spMkLst>
        </pc:spChg>
        <pc:spChg chg="mod">
          <ac:chgData name="Chris Gassman (he/him), CSB" userId="255d5b90-e4b1-47f3-87d9-bbdebc731cf9" providerId="ADAL" clId="{A1063716-D93A-4129-9E07-FB1A80FD0C49}" dt="2025-05-23T23:05:03.892" v="421" actId="790"/>
          <ac:spMkLst>
            <pc:docMk/>
            <pc:sldMk cId="3848777021" sldId="359"/>
            <ac:spMk id="4" creationId="{4922EA65-633A-9D47-0B09-12E3E62A5B0E}"/>
          </ac:spMkLst>
        </pc:spChg>
        <pc:spChg chg="mod">
          <ac:chgData name="Chris Gassman (he/him), CSB" userId="255d5b90-e4b1-47f3-87d9-bbdebc731cf9" providerId="ADAL" clId="{A1063716-D93A-4129-9E07-FB1A80FD0C49}" dt="2025-05-23T23:05:03.892" v="421" actId="790"/>
          <ac:spMkLst>
            <pc:docMk/>
            <pc:sldMk cId="3848777021" sldId="359"/>
            <ac:spMk id="5" creationId="{3FD56D6D-DE0E-607F-655C-51410EBDD351}"/>
          </ac:spMkLst>
        </pc:spChg>
        <pc:spChg chg="mod">
          <ac:chgData name="Chris Gassman (he/him), CSB" userId="255d5b90-e4b1-47f3-87d9-bbdebc731cf9" providerId="ADAL" clId="{A1063716-D93A-4129-9E07-FB1A80FD0C49}" dt="2025-05-23T23:05:03.892" v="421" actId="790"/>
          <ac:spMkLst>
            <pc:docMk/>
            <pc:sldMk cId="3848777021" sldId="359"/>
            <ac:spMk id="6" creationId="{1CEDB6C0-47F8-6A70-F4AA-159BAA8E8E65}"/>
          </ac:spMkLst>
        </pc:spChg>
      </pc:sldChg>
      <pc:sldChg chg="modSp mod">
        <pc:chgData name="Chris Gassman (he/him), CSB" userId="255d5b90-e4b1-47f3-87d9-bbdebc731cf9" providerId="ADAL" clId="{A1063716-D93A-4129-9E07-FB1A80FD0C49}" dt="2025-05-23T23:05:03.892" v="421" actId="790"/>
        <pc:sldMkLst>
          <pc:docMk/>
          <pc:sldMk cId="3150467674" sldId="382"/>
        </pc:sldMkLst>
        <pc:spChg chg="mod">
          <ac:chgData name="Chris Gassman (he/him), CSB" userId="255d5b90-e4b1-47f3-87d9-bbdebc731cf9" providerId="ADAL" clId="{A1063716-D93A-4129-9E07-FB1A80FD0C49}" dt="2025-05-23T23:05:03.892" v="421" actId="790"/>
          <ac:spMkLst>
            <pc:docMk/>
            <pc:sldMk cId="3150467674" sldId="382"/>
            <ac:spMk id="2" creationId="{B56239D0-CD03-9078-C31B-36E65AF421FB}"/>
          </ac:spMkLst>
        </pc:spChg>
        <pc:spChg chg="mod">
          <ac:chgData name="Chris Gassman (he/him), CSB" userId="255d5b90-e4b1-47f3-87d9-bbdebc731cf9" providerId="ADAL" clId="{A1063716-D93A-4129-9E07-FB1A80FD0C49}" dt="2025-05-23T23:05:03.892" v="421" actId="790"/>
          <ac:spMkLst>
            <pc:docMk/>
            <pc:sldMk cId="3150467674" sldId="382"/>
            <ac:spMk id="3" creationId="{E56154FD-34B9-F095-D450-768384120756}"/>
          </ac:spMkLst>
        </pc:spChg>
        <pc:spChg chg="mod">
          <ac:chgData name="Chris Gassman (he/him), CSB" userId="255d5b90-e4b1-47f3-87d9-bbdebc731cf9" providerId="ADAL" clId="{A1063716-D93A-4129-9E07-FB1A80FD0C49}" dt="2025-05-23T23:05:03.892" v="421" actId="790"/>
          <ac:spMkLst>
            <pc:docMk/>
            <pc:sldMk cId="3150467674" sldId="382"/>
            <ac:spMk id="4" creationId="{64A8F259-72C2-37C1-8E39-AFC98A7326EB}"/>
          </ac:spMkLst>
        </pc:spChg>
        <pc:spChg chg="mod">
          <ac:chgData name="Chris Gassman (he/him), CSB" userId="255d5b90-e4b1-47f3-87d9-bbdebc731cf9" providerId="ADAL" clId="{A1063716-D93A-4129-9E07-FB1A80FD0C49}" dt="2025-05-23T23:05:03.892" v="421" actId="790"/>
          <ac:spMkLst>
            <pc:docMk/>
            <pc:sldMk cId="3150467674" sldId="382"/>
            <ac:spMk id="5" creationId="{0B8843B9-80E3-CF50-E1D9-0A1505AEC084}"/>
          </ac:spMkLst>
        </pc:spChg>
        <pc:spChg chg="mod">
          <ac:chgData name="Chris Gassman (he/him), CSB" userId="255d5b90-e4b1-47f3-87d9-bbdebc731cf9" providerId="ADAL" clId="{A1063716-D93A-4129-9E07-FB1A80FD0C49}" dt="2025-05-23T23:05:03.892" v="421" actId="790"/>
          <ac:spMkLst>
            <pc:docMk/>
            <pc:sldMk cId="3150467674" sldId="382"/>
            <ac:spMk id="12" creationId="{45CE1FFC-FEC9-6DA9-C23B-29E4558001AB}"/>
          </ac:spMkLst>
        </pc:spChg>
        <pc:spChg chg="mod">
          <ac:chgData name="Chris Gassman (he/him), CSB" userId="255d5b90-e4b1-47f3-87d9-bbdebc731cf9" providerId="ADAL" clId="{A1063716-D93A-4129-9E07-FB1A80FD0C49}" dt="2025-05-23T23:05:03.892" v="421" actId="790"/>
          <ac:spMkLst>
            <pc:docMk/>
            <pc:sldMk cId="3150467674" sldId="382"/>
            <ac:spMk id="13" creationId="{D3781003-C743-796F-7693-406B607796E7}"/>
          </ac:spMkLst>
        </pc:spChg>
      </pc:sldChg>
      <pc:sldChg chg="addSp delSp modSp mod modClrScheme chgLayout">
        <pc:chgData name="Chris Gassman (he/him), CSB" userId="255d5b90-e4b1-47f3-87d9-bbdebc731cf9" providerId="ADAL" clId="{A1063716-D93A-4129-9E07-FB1A80FD0C49}" dt="2025-05-23T23:05:03.892" v="421" actId="790"/>
        <pc:sldMkLst>
          <pc:docMk/>
          <pc:sldMk cId="1561694634" sldId="387"/>
        </pc:sldMkLst>
        <pc:spChg chg="mod ord">
          <ac:chgData name="Chris Gassman (he/him), CSB" userId="255d5b90-e4b1-47f3-87d9-bbdebc731cf9" providerId="ADAL" clId="{A1063716-D93A-4129-9E07-FB1A80FD0C49}" dt="2025-05-23T23:05:03.892" v="421" actId="790"/>
          <ac:spMkLst>
            <pc:docMk/>
            <pc:sldMk cId="1561694634" sldId="387"/>
            <ac:spMk id="5" creationId="{DA65D50E-A605-7889-311B-EF358FB000B1}"/>
          </ac:spMkLst>
        </pc:spChg>
        <pc:spChg chg="mod">
          <ac:chgData name="Chris Gassman (he/him), CSB" userId="255d5b90-e4b1-47f3-87d9-bbdebc731cf9" providerId="ADAL" clId="{A1063716-D93A-4129-9E07-FB1A80FD0C49}" dt="2025-05-23T23:05:03.892" v="421" actId="790"/>
          <ac:spMkLst>
            <pc:docMk/>
            <pc:sldMk cId="1561694634" sldId="387"/>
            <ac:spMk id="15" creationId="{F215EFF2-C53B-92F2-A5F5-A6264917DB23}"/>
          </ac:spMkLst>
        </pc:spChg>
        <pc:spChg chg="mod">
          <ac:chgData name="Chris Gassman (he/him), CSB" userId="255d5b90-e4b1-47f3-87d9-bbdebc731cf9" providerId="ADAL" clId="{A1063716-D93A-4129-9E07-FB1A80FD0C49}" dt="2025-05-23T23:05:03.892" v="421" actId="790"/>
          <ac:spMkLst>
            <pc:docMk/>
            <pc:sldMk cId="1561694634" sldId="387"/>
            <ac:spMk id="18" creationId="{1176937F-41E9-5264-BC18-3F7ADE7674F3}"/>
          </ac:spMkLst>
        </pc:spChg>
        <pc:picChg chg="mod">
          <ac:chgData name="Chris Gassman (he/him), CSB" userId="255d5b90-e4b1-47f3-87d9-bbdebc731cf9" providerId="ADAL" clId="{A1063716-D93A-4129-9E07-FB1A80FD0C49}" dt="2025-05-23T21:51:41.945" v="162" actId="1076"/>
          <ac:picMkLst>
            <pc:docMk/>
            <pc:sldMk cId="1561694634" sldId="387"/>
            <ac:picMk id="16" creationId="{C86865B6-7FF7-1B07-A850-CEF1FE80EF55}"/>
          </ac:picMkLst>
        </pc:picChg>
      </pc:sldChg>
      <pc:sldChg chg="add del">
        <pc:chgData name="Chris Gassman (he/him), CSB" userId="255d5b90-e4b1-47f3-87d9-bbdebc731cf9" providerId="ADAL" clId="{A1063716-D93A-4129-9E07-FB1A80FD0C49}" dt="2025-05-23T21:48:55.475" v="48"/>
        <pc:sldMkLst>
          <pc:docMk/>
          <pc:sldMk cId="2022693671" sldId="389"/>
        </pc:sldMkLst>
      </pc:sldChg>
      <pc:sldChg chg="modSp add del mod modClrScheme chgLayout">
        <pc:chgData name="Chris Gassman (he/him), CSB" userId="255d5b90-e4b1-47f3-87d9-bbdebc731cf9" providerId="ADAL" clId="{A1063716-D93A-4129-9E07-FB1A80FD0C49}" dt="2025-05-24T01:23:28.763" v="501" actId="2711"/>
        <pc:sldMkLst>
          <pc:docMk/>
          <pc:sldMk cId="2675709549" sldId="389"/>
        </pc:sldMkLst>
        <pc:spChg chg="mod ord">
          <ac:chgData name="Chris Gassman (he/him), CSB" userId="255d5b90-e4b1-47f3-87d9-bbdebc731cf9" providerId="ADAL" clId="{A1063716-D93A-4129-9E07-FB1A80FD0C49}" dt="2025-05-23T23:05:03.892" v="421" actId="790"/>
          <ac:spMkLst>
            <pc:docMk/>
            <pc:sldMk cId="2675709549" sldId="389"/>
            <ac:spMk id="2" creationId="{F610C185-DA75-1741-30DB-280D33772FDC}"/>
          </ac:spMkLst>
        </pc:spChg>
        <pc:spChg chg="mod ord">
          <ac:chgData name="Chris Gassman (he/him), CSB" userId="255d5b90-e4b1-47f3-87d9-bbdebc731cf9" providerId="ADAL" clId="{A1063716-D93A-4129-9E07-FB1A80FD0C49}" dt="2025-05-24T01:23:23.046" v="500" actId="255"/>
          <ac:spMkLst>
            <pc:docMk/>
            <pc:sldMk cId="2675709549" sldId="389"/>
            <ac:spMk id="3" creationId="{EF1CF58D-39B4-5CFC-E24D-EB5041ABAB9E}"/>
          </ac:spMkLst>
        </pc:spChg>
        <pc:spChg chg="mod ord">
          <ac:chgData name="Chris Gassman (he/him), CSB" userId="255d5b90-e4b1-47f3-87d9-bbdebc731cf9" providerId="ADAL" clId="{A1063716-D93A-4129-9E07-FB1A80FD0C49}" dt="2025-05-24T01:23:28.763" v="501" actId="2711"/>
          <ac:spMkLst>
            <pc:docMk/>
            <pc:sldMk cId="2675709549" sldId="389"/>
            <ac:spMk id="4" creationId="{8E397E96-55A3-DAC1-46B5-D2B555E474A4}"/>
          </ac:spMkLst>
        </pc:spChg>
        <pc:spChg chg="mod ord">
          <ac:chgData name="Chris Gassman (he/him), CSB" userId="255d5b90-e4b1-47f3-87d9-bbdebc731cf9" providerId="ADAL" clId="{A1063716-D93A-4129-9E07-FB1A80FD0C49}" dt="2025-05-23T23:05:03.892" v="421" actId="790"/>
          <ac:spMkLst>
            <pc:docMk/>
            <pc:sldMk cId="2675709549" sldId="389"/>
            <ac:spMk id="5" creationId="{44077E1D-1F38-AECB-0935-1390D0125E4B}"/>
          </ac:spMkLst>
        </pc:spChg>
        <pc:picChg chg="mod">
          <ac:chgData name="Chris Gassman (he/him), CSB" userId="255d5b90-e4b1-47f3-87d9-bbdebc731cf9" providerId="ADAL" clId="{A1063716-D93A-4129-9E07-FB1A80FD0C49}" dt="2025-05-23T21:53:19.324" v="206" actId="1076"/>
          <ac:picMkLst>
            <pc:docMk/>
            <pc:sldMk cId="2675709549" sldId="389"/>
            <ac:picMk id="6" creationId="{846B0058-6849-093E-1925-890EA1168A7B}"/>
          </ac:picMkLst>
        </pc:picChg>
      </pc:sldChg>
      <pc:sldChg chg="add del">
        <pc:chgData name="Chris Gassman (he/him), CSB" userId="255d5b90-e4b1-47f3-87d9-bbdebc731cf9" providerId="ADAL" clId="{A1063716-D93A-4129-9E07-FB1A80FD0C49}" dt="2025-05-23T21:48:55.475" v="48"/>
        <pc:sldMkLst>
          <pc:docMk/>
          <pc:sldMk cId="893649278" sldId="390"/>
        </pc:sldMkLst>
      </pc:sldChg>
      <pc:sldChg chg="modSp add del mod modClrScheme chgLayout">
        <pc:chgData name="Chris Gassman (he/him), CSB" userId="255d5b90-e4b1-47f3-87d9-bbdebc731cf9" providerId="ADAL" clId="{A1063716-D93A-4129-9E07-FB1A80FD0C49}" dt="2025-05-23T23:05:03.892" v="421" actId="790"/>
        <pc:sldMkLst>
          <pc:docMk/>
          <pc:sldMk cId="2532721541" sldId="390"/>
        </pc:sldMkLst>
        <pc:spChg chg="mod ord">
          <ac:chgData name="Chris Gassman (he/him), CSB" userId="255d5b90-e4b1-47f3-87d9-bbdebc731cf9" providerId="ADAL" clId="{A1063716-D93A-4129-9E07-FB1A80FD0C49}" dt="2025-05-23T23:05:03.892" v="421" actId="790"/>
          <ac:spMkLst>
            <pc:docMk/>
            <pc:sldMk cId="2532721541" sldId="390"/>
            <ac:spMk id="2" creationId="{021F0018-D4BB-8AC9-F6F5-A15591004682}"/>
          </ac:spMkLst>
        </pc:spChg>
        <pc:spChg chg="mod ord">
          <ac:chgData name="Chris Gassman (he/him), CSB" userId="255d5b90-e4b1-47f3-87d9-bbdebc731cf9" providerId="ADAL" clId="{A1063716-D93A-4129-9E07-FB1A80FD0C49}" dt="2025-05-23T23:05:03.892" v="421" actId="790"/>
          <ac:spMkLst>
            <pc:docMk/>
            <pc:sldMk cId="2532721541" sldId="390"/>
            <ac:spMk id="3" creationId="{0A081D75-F7C7-037F-CAF4-7269255576F1}"/>
          </ac:spMkLst>
        </pc:spChg>
        <pc:spChg chg="mod ord">
          <ac:chgData name="Chris Gassman (he/him), CSB" userId="255d5b90-e4b1-47f3-87d9-bbdebc731cf9" providerId="ADAL" clId="{A1063716-D93A-4129-9E07-FB1A80FD0C49}" dt="2025-05-23T23:05:03.892" v="421" actId="790"/>
          <ac:spMkLst>
            <pc:docMk/>
            <pc:sldMk cId="2532721541" sldId="390"/>
            <ac:spMk id="4" creationId="{550E1B26-F917-6A96-21FD-AE913C7E8D85}"/>
          </ac:spMkLst>
        </pc:spChg>
        <pc:spChg chg="mod ord">
          <ac:chgData name="Chris Gassman (he/him), CSB" userId="255d5b90-e4b1-47f3-87d9-bbdebc731cf9" providerId="ADAL" clId="{A1063716-D93A-4129-9E07-FB1A80FD0C49}" dt="2025-05-23T23:05:03.892" v="421" actId="790"/>
          <ac:spMkLst>
            <pc:docMk/>
            <pc:sldMk cId="2532721541" sldId="390"/>
            <ac:spMk id="5" creationId="{AC5F68C9-9C75-B17F-6AEB-C431411F6B50}"/>
          </ac:spMkLst>
        </pc:spChg>
      </pc:sldChg>
      <pc:sldChg chg="modSp mod">
        <pc:chgData name="Chris Gassman (he/him), CSB" userId="255d5b90-e4b1-47f3-87d9-bbdebc731cf9" providerId="ADAL" clId="{A1063716-D93A-4129-9E07-FB1A80FD0C49}" dt="2025-05-23T23:05:03.892" v="421" actId="790"/>
        <pc:sldMkLst>
          <pc:docMk/>
          <pc:sldMk cId="755326323" sldId="392"/>
        </pc:sldMkLst>
      </pc:sldChg>
      <pc:sldChg chg="modSp mod">
        <pc:chgData name="Chris Gassman (he/him), CSB" userId="255d5b90-e4b1-47f3-87d9-bbdebc731cf9" providerId="ADAL" clId="{A1063716-D93A-4129-9E07-FB1A80FD0C49}" dt="2025-05-23T23:05:03.892" v="421" actId="790"/>
        <pc:sldMkLst>
          <pc:docMk/>
          <pc:sldMk cId="2734771092" sldId="428"/>
        </pc:sldMkLst>
        <pc:spChg chg="mod">
          <ac:chgData name="Chris Gassman (he/him), CSB" userId="255d5b90-e4b1-47f3-87d9-bbdebc731cf9" providerId="ADAL" clId="{A1063716-D93A-4129-9E07-FB1A80FD0C49}" dt="2025-05-23T23:05:03.892" v="421" actId="790"/>
          <ac:spMkLst>
            <pc:docMk/>
            <pc:sldMk cId="2734771092" sldId="428"/>
            <ac:spMk id="3" creationId="{9974FC10-5D05-BF98-0951-EABD5A9AA0B0}"/>
          </ac:spMkLst>
        </pc:spChg>
      </pc:sldChg>
      <pc:sldChg chg="modSp mod">
        <pc:chgData name="Chris Gassman (he/him), CSB" userId="255d5b90-e4b1-47f3-87d9-bbdebc731cf9" providerId="ADAL" clId="{A1063716-D93A-4129-9E07-FB1A80FD0C49}" dt="2025-05-23T23:05:03.892" v="421" actId="790"/>
        <pc:sldMkLst>
          <pc:docMk/>
          <pc:sldMk cId="2949998840" sldId="429"/>
        </pc:sldMkLst>
        <pc:spChg chg="mod">
          <ac:chgData name="Chris Gassman (he/him), CSB" userId="255d5b90-e4b1-47f3-87d9-bbdebc731cf9" providerId="ADAL" clId="{A1063716-D93A-4129-9E07-FB1A80FD0C49}" dt="2025-05-23T23:05:03.892" v="421" actId="790"/>
          <ac:spMkLst>
            <pc:docMk/>
            <pc:sldMk cId="2949998840" sldId="429"/>
            <ac:spMk id="3" creationId="{39ADCF4D-B9E8-577D-6B82-2FE4E610C8FE}"/>
          </ac:spMkLst>
        </pc:spChg>
      </pc:sldChg>
      <pc:sldChg chg="modSp mod">
        <pc:chgData name="Chris Gassman (he/him), CSB" userId="255d5b90-e4b1-47f3-87d9-bbdebc731cf9" providerId="ADAL" clId="{A1063716-D93A-4129-9E07-FB1A80FD0C49}" dt="2025-05-23T23:05:03.892" v="421" actId="790"/>
        <pc:sldMkLst>
          <pc:docMk/>
          <pc:sldMk cId="4148277725" sldId="430"/>
        </pc:sldMkLst>
        <pc:spChg chg="mod">
          <ac:chgData name="Chris Gassman (he/him), CSB" userId="255d5b90-e4b1-47f3-87d9-bbdebc731cf9" providerId="ADAL" clId="{A1063716-D93A-4129-9E07-FB1A80FD0C49}" dt="2025-05-23T23:05:03.892" v="421" actId="790"/>
          <ac:spMkLst>
            <pc:docMk/>
            <pc:sldMk cId="4148277725" sldId="430"/>
            <ac:spMk id="3" creationId="{14BB3100-536C-5721-06B4-36A1AB6E5832}"/>
          </ac:spMkLst>
        </pc:spChg>
      </pc:sldChg>
      <pc:sldChg chg="modSp mod">
        <pc:chgData name="Chris Gassman (he/him), CSB" userId="255d5b90-e4b1-47f3-87d9-bbdebc731cf9" providerId="ADAL" clId="{A1063716-D93A-4129-9E07-FB1A80FD0C49}" dt="2025-05-23T23:05:03.892" v="421" actId="790"/>
        <pc:sldMkLst>
          <pc:docMk/>
          <pc:sldMk cId="2530414830" sldId="431"/>
        </pc:sldMkLst>
        <pc:spChg chg="mod">
          <ac:chgData name="Chris Gassman (he/him), CSB" userId="255d5b90-e4b1-47f3-87d9-bbdebc731cf9" providerId="ADAL" clId="{A1063716-D93A-4129-9E07-FB1A80FD0C49}" dt="2025-05-23T23:05:03.892" v="421" actId="790"/>
          <ac:spMkLst>
            <pc:docMk/>
            <pc:sldMk cId="2530414830" sldId="431"/>
            <ac:spMk id="3" creationId="{32CFA78F-6782-4DD3-8F6E-8532C9C0A273}"/>
          </ac:spMkLst>
        </pc:spChg>
      </pc:sldChg>
      <pc:sldChg chg="modSp mod">
        <pc:chgData name="Chris Gassman (he/him), CSB" userId="255d5b90-e4b1-47f3-87d9-bbdebc731cf9" providerId="ADAL" clId="{A1063716-D93A-4129-9E07-FB1A80FD0C49}" dt="2025-05-23T23:05:03.892" v="421" actId="790"/>
        <pc:sldMkLst>
          <pc:docMk/>
          <pc:sldMk cId="2813832334" sldId="433"/>
        </pc:sldMkLst>
        <pc:spChg chg="mod">
          <ac:chgData name="Chris Gassman (he/him), CSB" userId="255d5b90-e4b1-47f3-87d9-bbdebc731cf9" providerId="ADAL" clId="{A1063716-D93A-4129-9E07-FB1A80FD0C49}" dt="2025-05-23T23:05:03.892" v="421" actId="790"/>
          <ac:spMkLst>
            <pc:docMk/>
            <pc:sldMk cId="2813832334" sldId="433"/>
            <ac:spMk id="3" creationId="{91B79F6B-E90E-1952-AA09-6DECC2493507}"/>
          </ac:spMkLst>
        </pc:spChg>
      </pc:sldChg>
      <pc:sldChg chg="modSp mod">
        <pc:chgData name="Chris Gassman (he/him), CSB" userId="255d5b90-e4b1-47f3-87d9-bbdebc731cf9" providerId="ADAL" clId="{A1063716-D93A-4129-9E07-FB1A80FD0C49}" dt="2025-05-24T01:20:18.191" v="494" actId="113"/>
        <pc:sldMkLst>
          <pc:docMk/>
          <pc:sldMk cId="2195984643" sldId="434"/>
        </pc:sldMkLst>
        <pc:spChg chg="mod">
          <ac:chgData name="Chris Gassman (he/him), CSB" userId="255d5b90-e4b1-47f3-87d9-bbdebc731cf9" providerId="ADAL" clId="{A1063716-D93A-4129-9E07-FB1A80FD0C49}" dt="2025-05-24T01:20:18.191" v="494" actId="113"/>
          <ac:spMkLst>
            <pc:docMk/>
            <pc:sldMk cId="2195984643" sldId="434"/>
            <ac:spMk id="3" creationId="{6F2159E4-526B-D925-A702-6C886F28DF19}"/>
          </ac:spMkLst>
        </pc:spChg>
      </pc:sldChg>
      <pc:sldChg chg="modSp mod modAnim">
        <pc:chgData name="Chris Gassman (he/him), CSB" userId="255d5b90-e4b1-47f3-87d9-bbdebc731cf9" providerId="ADAL" clId="{A1063716-D93A-4129-9E07-FB1A80FD0C49}" dt="2025-05-24T01:55:52.927" v="622"/>
        <pc:sldMkLst>
          <pc:docMk/>
          <pc:sldMk cId="1869322492" sldId="435"/>
        </pc:sldMkLst>
        <pc:spChg chg="mod">
          <ac:chgData name="Chris Gassman (he/him), CSB" userId="255d5b90-e4b1-47f3-87d9-bbdebc731cf9" providerId="ADAL" clId="{A1063716-D93A-4129-9E07-FB1A80FD0C49}" dt="2025-05-23T22:38:57.451" v="289" actId="113"/>
          <ac:spMkLst>
            <pc:docMk/>
            <pc:sldMk cId="1869322492" sldId="435"/>
            <ac:spMk id="8" creationId="{6EF55A33-B31A-AFE8-2893-FDED3EFB64A8}"/>
          </ac:spMkLst>
        </pc:spChg>
        <pc:spChg chg="mod">
          <ac:chgData name="Chris Gassman (he/him), CSB" userId="255d5b90-e4b1-47f3-87d9-bbdebc731cf9" providerId="ADAL" clId="{A1063716-D93A-4129-9E07-FB1A80FD0C49}" dt="2025-05-23T23:05:03.892" v="421" actId="790"/>
          <ac:spMkLst>
            <pc:docMk/>
            <pc:sldMk cId="1869322492" sldId="435"/>
            <ac:spMk id="11" creationId="{95AC4FFC-3B8F-A5EF-D76B-8D3B234BB39A}"/>
          </ac:spMkLst>
        </pc:spChg>
        <pc:spChg chg="mod">
          <ac:chgData name="Chris Gassman (he/him), CSB" userId="255d5b90-e4b1-47f3-87d9-bbdebc731cf9" providerId="ADAL" clId="{A1063716-D93A-4129-9E07-FB1A80FD0C49}" dt="2025-05-23T23:05:03.892" v="421" actId="790"/>
          <ac:spMkLst>
            <pc:docMk/>
            <pc:sldMk cId="1869322492" sldId="435"/>
            <ac:spMk id="16" creationId="{F681D7D2-BF03-BE01-A05B-CDBE2023D694}"/>
          </ac:spMkLst>
        </pc:spChg>
        <pc:spChg chg="mod">
          <ac:chgData name="Chris Gassman (he/him), CSB" userId="255d5b90-e4b1-47f3-87d9-bbdebc731cf9" providerId="ADAL" clId="{A1063716-D93A-4129-9E07-FB1A80FD0C49}" dt="2025-05-23T23:50:07.795" v="422" actId="20577"/>
          <ac:spMkLst>
            <pc:docMk/>
            <pc:sldMk cId="1869322492" sldId="435"/>
            <ac:spMk id="17" creationId="{C6205509-FA8E-4B0F-1F01-F85E1775C949}"/>
          </ac:spMkLst>
        </pc:spChg>
        <pc:spChg chg="mod">
          <ac:chgData name="Chris Gassman (he/him), CSB" userId="255d5b90-e4b1-47f3-87d9-bbdebc731cf9" providerId="ADAL" clId="{A1063716-D93A-4129-9E07-FB1A80FD0C49}" dt="2025-05-23T23:05:03.892" v="421" actId="790"/>
          <ac:spMkLst>
            <pc:docMk/>
            <pc:sldMk cId="1869322492" sldId="435"/>
            <ac:spMk id="21" creationId="{B5469D3F-392C-B264-D37D-B4EC9BA932E7}"/>
          </ac:spMkLst>
        </pc:spChg>
        <pc:spChg chg="mod">
          <ac:chgData name="Chris Gassman (he/him), CSB" userId="255d5b90-e4b1-47f3-87d9-bbdebc731cf9" providerId="ADAL" clId="{A1063716-D93A-4129-9E07-FB1A80FD0C49}" dt="2025-05-23T23:05:03.892" v="421" actId="790"/>
          <ac:spMkLst>
            <pc:docMk/>
            <pc:sldMk cId="1869322492" sldId="435"/>
            <ac:spMk id="23" creationId="{B1B1FA06-EF70-4CE8-5476-870333F9FC85}"/>
          </ac:spMkLst>
        </pc:spChg>
        <pc:spChg chg="mod">
          <ac:chgData name="Chris Gassman (he/him), CSB" userId="255d5b90-e4b1-47f3-87d9-bbdebc731cf9" providerId="ADAL" clId="{A1063716-D93A-4129-9E07-FB1A80FD0C49}" dt="2025-05-23T23:05:03.892" v="421" actId="790"/>
          <ac:spMkLst>
            <pc:docMk/>
            <pc:sldMk cId="1869322492" sldId="435"/>
            <ac:spMk id="24" creationId="{BFD6CD04-45AA-E1A6-38EC-EC6184E4CF31}"/>
          </ac:spMkLst>
        </pc:spChg>
        <pc:spChg chg="mod">
          <ac:chgData name="Chris Gassman (he/him), CSB" userId="255d5b90-e4b1-47f3-87d9-bbdebc731cf9" providerId="ADAL" clId="{A1063716-D93A-4129-9E07-FB1A80FD0C49}" dt="2025-05-23T23:05:03.892" v="421" actId="790"/>
          <ac:spMkLst>
            <pc:docMk/>
            <pc:sldMk cId="1869322492" sldId="435"/>
            <ac:spMk id="29" creationId="{1EB83A24-16B8-77FA-297B-92DF30DBDCA4}"/>
          </ac:spMkLst>
        </pc:spChg>
        <pc:spChg chg="mod">
          <ac:chgData name="Chris Gassman (he/him), CSB" userId="255d5b90-e4b1-47f3-87d9-bbdebc731cf9" providerId="ADAL" clId="{A1063716-D93A-4129-9E07-FB1A80FD0C49}" dt="2025-05-23T23:53:03.267" v="423" actId="20577"/>
          <ac:spMkLst>
            <pc:docMk/>
            <pc:sldMk cId="1869322492" sldId="435"/>
            <ac:spMk id="34" creationId="{ED19B075-9371-1007-0195-5DDF4F85114B}"/>
          </ac:spMkLst>
        </pc:spChg>
      </pc:sldChg>
      <pc:sldChg chg="addSp delSp modSp add del mod modClrScheme chgLayout">
        <pc:chgData name="Chris Gassman (he/him), CSB" userId="255d5b90-e4b1-47f3-87d9-bbdebc731cf9" providerId="ADAL" clId="{A1063716-D93A-4129-9E07-FB1A80FD0C49}" dt="2025-05-24T01:23:08.551" v="498" actId="113"/>
        <pc:sldMkLst>
          <pc:docMk/>
          <pc:sldMk cId="658288104" sldId="437"/>
        </pc:sldMkLst>
        <pc:spChg chg="mod ord">
          <ac:chgData name="Chris Gassman (he/him), CSB" userId="255d5b90-e4b1-47f3-87d9-bbdebc731cf9" providerId="ADAL" clId="{A1063716-D93A-4129-9E07-FB1A80FD0C49}" dt="2025-05-24T01:23:08.551" v="498" actId="113"/>
          <ac:spMkLst>
            <pc:docMk/>
            <pc:sldMk cId="658288104" sldId="437"/>
            <ac:spMk id="2" creationId="{64795C20-1D53-D49F-4A1D-FDB88F441940}"/>
          </ac:spMkLst>
        </pc:spChg>
        <pc:spChg chg="mod ord">
          <ac:chgData name="Chris Gassman (he/him), CSB" userId="255d5b90-e4b1-47f3-87d9-bbdebc731cf9" providerId="ADAL" clId="{A1063716-D93A-4129-9E07-FB1A80FD0C49}" dt="2025-05-23T23:05:03.892" v="421" actId="790"/>
          <ac:spMkLst>
            <pc:docMk/>
            <pc:sldMk cId="658288104" sldId="437"/>
            <ac:spMk id="3" creationId="{1F169635-4146-ED1F-292E-C8B16DC78673}"/>
          </ac:spMkLst>
        </pc:spChg>
        <pc:spChg chg="mod">
          <ac:chgData name="Chris Gassman (he/him), CSB" userId="255d5b90-e4b1-47f3-87d9-bbdebc731cf9" providerId="ADAL" clId="{A1063716-D93A-4129-9E07-FB1A80FD0C49}" dt="2025-05-23T23:05:03.892" v="421" actId="790"/>
          <ac:spMkLst>
            <pc:docMk/>
            <pc:sldMk cId="658288104" sldId="437"/>
            <ac:spMk id="8" creationId="{B26ECA8E-DDB2-8DAD-2588-D06826A99441}"/>
          </ac:spMkLst>
        </pc:spChg>
      </pc:sldChg>
      <pc:sldChg chg="add del">
        <pc:chgData name="Chris Gassman (he/him), CSB" userId="255d5b90-e4b1-47f3-87d9-bbdebc731cf9" providerId="ADAL" clId="{A1063716-D93A-4129-9E07-FB1A80FD0C49}" dt="2025-05-23T21:48:55.475" v="48"/>
        <pc:sldMkLst>
          <pc:docMk/>
          <pc:sldMk cId="3890030529" sldId="437"/>
        </pc:sldMkLst>
      </pc:sldChg>
      <pc:sldChg chg="modSp add del mod">
        <pc:chgData name="Chris Gassman (he/him), CSB" userId="255d5b90-e4b1-47f3-87d9-bbdebc731cf9" providerId="ADAL" clId="{A1063716-D93A-4129-9E07-FB1A80FD0C49}" dt="2025-05-23T23:05:03.892" v="421" actId="790"/>
        <pc:sldMkLst>
          <pc:docMk/>
          <pc:sldMk cId="3965176274" sldId="438"/>
        </pc:sldMkLst>
        <pc:spChg chg="mod">
          <ac:chgData name="Chris Gassman (he/him), CSB" userId="255d5b90-e4b1-47f3-87d9-bbdebc731cf9" providerId="ADAL" clId="{A1063716-D93A-4129-9E07-FB1A80FD0C49}" dt="2025-05-23T23:05:03.892" v="421" actId="790"/>
          <ac:spMkLst>
            <pc:docMk/>
            <pc:sldMk cId="3965176274" sldId="438"/>
            <ac:spMk id="2" creationId="{CB01FC8B-122B-2608-72A1-8BA59EFA154F}"/>
          </ac:spMkLst>
        </pc:spChg>
        <pc:spChg chg="mod">
          <ac:chgData name="Chris Gassman (he/him), CSB" userId="255d5b90-e4b1-47f3-87d9-bbdebc731cf9" providerId="ADAL" clId="{A1063716-D93A-4129-9E07-FB1A80FD0C49}" dt="2025-05-23T23:05:03.892" v="421" actId="790"/>
          <ac:spMkLst>
            <pc:docMk/>
            <pc:sldMk cId="3965176274" sldId="438"/>
            <ac:spMk id="4" creationId="{CF3222A6-E06F-D774-1771-D9D92C8E1D2E}"/>
          </ac:spMkLst>
        </pc:spChg>
        <pc:picChg chg="mod">
          <ac:chgData name="Chris Gassman (he/him), CSB" userId="255d5b90-e4b1-47f3-87d9-bbdebc731cf9" providerId="ADAL" clId="{A1063716-D93A-4129-9E07-FB1A80FD0C49}" dt="2025-05-23T21:54:43.858" v="214" actId="1076"/>
          <ac:picMkLst>
            <pc:docMk/>
            <pc:sldMk cId="3965176274" sldId="438"/>
            <ac:picMk id="6" creationId="{9EB05A65-68A9-0340-EF02-A9623F22640E}"/>
          </ac:picMkLst>
        </pc:picChg>
      </pc:sldChg>
      <pc:sldChg chg="add del">
        <pc:chgData name="Chris Gassman (he/him), CSB" userId="255d5b90-e4b1-47f3-87d9-bbdebc731cf9" providerId="ADAL" clId="{A1063716-D93A-4129-9E07-FB1A80FD0C49}" dt="2025-05-23T21:48:55.475" v="48"/>
        <pc:sldMkLst>
          <pc:docMk/>
          <pc:sldMk cId="4273658865" sldId="438"/>
        </pc:sldMkLst>
      </pc:sldChg>
      <pc:sldChg chg="add del">
        <pc:chgData name="Chris Gassman (he/him), CSB" userId="255d5b90-e4b1-47f3-87d9-bbdebc731cf9" providerId="ADAL" clId="{A1063716-D93A-4129-9E07-FB1A80FD0C49}" dt="2025-05-23T21:48:55.475" v="48"/>
        <pc:sldMkLst>
          <pc:docMk/>
          <pc:sldMk cId="2384169257" sldId="439"/>
        </pc:sldMkLst>
      </pc:sldChg>
      <pc:sldChg chg="modSp add del mod">
        <pc:chgData name="Chris Gassman (he/him), CSB" userId="255d5b90-e4b1-47f3-87d9-bbdebc731cf9" providerId="ADAL" clId="{A1063716-D93A-4129-9E07-FB1A80FD0C49}" dt="2025-05-23T23:05:03.892" v="421" actId="790"/>
        <pc:sldMkLst>
          <pc:docMk/>
          <pc:sldMk cId="2393856727" sldId="439"/>
        </pc:sldMkLst>
        <pc:spChg chg="mod">
          <ac:chgData name="Chris Gassman (he/him), CSB" userId="255d5b90-e4b1-47f3-87d9-bbdebc731cf9" providerId="ADAL" clId="{A1063716-D93A-4129-9E07-FB1A80FD0C49}" dt="2025-05-23T23:05:03.892" v="421" actId="790"/>
          <ac:spMkLst>
            <pc:docMk/>
            <pc:sldMk cId="2393856727" sldId="439"/>
            <ac:spMk id="2" creationId="{84C7E239-CDC6-AC13-785C-328C75448559}"/>
          </ac:spMkLst>
        </pc:spChg>
        <pc:spChg chg="mod">
          <ac:chgData name="Chris Gassman (he/him), CSB" userId="255d5b90-e4b1-47f3-87d9-bbdebc731cf9" providerId="ADAL" clId="{A1063716-D93A-4129-9E07-FB1A80FD0C49}" dt="2025-05-23T23:05:03.892" v="421" actId="790"/>
          <ac:spMkLst>
            <pc:docMk/>
            <pc:sldMk cId="2393856727" sldId="439"/>
            <ac:spMk id="6" creationId="{72025D37-D310-3323-6BF7-9A1397E213BA}"/>
          </ac:spMkLst>
        </pc:spChg>
        <pc:spChg chg="mod">
          <ac:chgData name="Chris Gassman (he/him), CSB" userId="255d5b90-e4b1-47f3-87d9-bbdebc731cf9" providerId="ADAL" clId="{A1063716-D93A-4129-9E07-FB1A80FD0C49}" dt="2025-05-23T23:05:03.892" v="421" actId="790"/>
          <ac:spMkLst>
            <pc:docMk/>
            <pc:sldMk cId="2393856727" sldId="439"/>
            <ac:spMk id="7" creationId="{32D9C68E-B535-15A9-3756-4E321F22EF7D}"/>
          </ac:spMkLst>
        </pc:spChg>
      </pc:sldChg>
      <pc:sldChg chg="add del">
        <pc:chgData name="Chris Gassman (he/him), CSB" userId="255d5b90-e4b1-47f3-87d9-bbdebc731cf9" providerId="ADAL" clId="{A1063716-D93A-4129-9E07-FB1A80FD0C49}" dt="2025-05-23T21:48:55.475" v="48"/>
        <pc:sldMkLst>
          <pc:docMk/>
          <pc:sldMk cId="103125537" sldId="440"/>
        </pc:sldMkLst>
      </pc:sldChg>
      <pc:sldChg chg="modSp add del mod modClrScheme chgLayout">
        <pc:chgData name="Chris Gassman (he/him), CSB" userId="255d5b90-e4b1-47f3-87d9-bbdebc731cf9" providerId="ADAL" clId="{A1063716-D93A-4129-9E07-FB1A80FD0C49}" dt="2025-05-24T01:24:17.132" v="508" actId="14100"/>
        <pc:sldMkLst>
          <pc:docMk/>
          <pc:sldMk cId="1381110918" sldId="440"/>
        </pc:sldMkLst>
        <pc:spChg chg="mod ord">
          <ac:chgData name="Chris Gassman (he/him), CSB" userId="255d5b90-e4b1-47f3-87d9-bbdebc731cf9" providerId="ADAL" clId="{A1063716-D93A-4129-9E07-FB1A80FD0C49}" dt="2025-05-23T23:05:03.892" v="421" actId="790"/>
          <ac:spMkLst>
            <pc:docMk/>
            <pc:sldMk cId="1381110918" sldId="440"/>
            <ac:spMk id="2" creationId="{25139AC0-E841-5C0D-834D-FD1AB8285D67}"/>
          </ac:spMkLst>
        </pc:spChg>
        <pc:spChg chg="mod ord">
          <ac:chgData name="Chris Gassman (he/him), CSB" userId="255d5b90-e4b1-47f3-87d9-bbdebc731cf9" providerId="ADAL" clId="{A1063716-D93A-4129-9E07-FB1A80FD0C49}" dt="2025-05-24T01:24:17.132" v="508" actId="14100"/>
          <ac:spMkLst>
            <pc:docMk/>
            <pc:sldMk cId="1381110918" sldId="440"/>
            <ac:spMk id="3" creationId="{63599A60-14F0-54C8-DF1E-C8AEA5FB88E8}"/>
          </ac:spMkLst>
        </pc:spChg>
        <pc:spChg chg="mod ord">
          <ac:chgData name="Chris Gassman (he/him), CSB" userId="255d5b90-e4b1-47f3-87d9-bbdebc731cf9" providerId="ADAL" clId="{A1063716-D93A-4129-9E07-FB1A80FD0C49}" dt="2025-05-23T23:05:03.892" v="421" actId="790"/>
          <ac:spMkLst>
            <pc:docMk/>
            <pc:sldMk cId="1381110918" sldId="440"/>
            <ac:spMk id="5" creationId="{EA179470-ECCC-F638-EEC9-ECDF673CCDD6}"/>
          </ac:spMkLst>
        </pc:spChg>
      </pc:sldChg>
      <pc:sldChg chg="modSp mod">
        <pc:chgData name="Chris Gassman (he/him), CSB" userId="255d5b90-e4b1-47f3-87d9-bbdebc731cf9" providerId="ADAL" clId="{A1063716-D93A-4129-9E07-FB1A80FD0C49}" dt="2025-05-23T23:05:03.892" v="421" actId="790"/>
        <pc:sldMkLst>
          <pc:docMk/>
          <pc:sldMk cId="915522470" sldId="441"/>
        </pc:sldMkLst>
        <pc:spChg chg="mod">
          <ac:chgData name="Chris Gassman (he/him), CSB" userId="255d5b90-e4b1-47f3-87d9-bbdebc731cf9" providerId="ADAL" clId="{A1063716-D93A-4129-9E07-FB1A80FD0C49}" dt="2025-05-23T23:05:03.892" v="421" actId="790"/>
          <ac:spMkLst>
            <pc:docMk/>
            <pc:sldMk cId="915522470" sldId="441"/>
            <ac:spMk id="11" creationId="{34A21E3A-81CA-7C7D-4B93-E57B0C50E450}"/>
          </ac:spMkLst>
        </pc:spChg>
      </pc:sldChg>
      <pc:sldChg chg="addSp delSp modSp mod">
        <pc:chgData name="Chris Gassman (he/him), CSB" userId="255d5b90-e4b1-47f3-87d9-bbdebc731cf9" providerId="ADAL" clId="{A1063716-D93A-4129-9E07-FB1A80FD0C49}" dt="2025-05-24T01:48:18.701" v="572"/>
        <pc:sldMkLst>
          <pc:docMk/>
          <pc:sldMk cId="835244869" sldId="442"/>
        </pc:sldMkLst>
        <pc:spChg chg="mod">
          <ac:chgData name="Chris Gassman (he/him), CSB" userId="255d5b90-e4b1-47f3-87d9-bbdebc731cf9" providerId="ADAL" clId="{A1063716-D93A-4129-9E07-FB1A80FD0C49}" dt="2025-05-23T23:05:03.892" v="421" actId="790"/>
          <ac:spMkLst>
            <pc:docMk/>
            <pc:sldMk cId="835244869" sldId="442"/>
            <ac:spMk id="6" creationId="{62FCCF81-B11D-0CDD-1A19-5E87DBC385FC}"/>
          </ac:spMkLst>
        </pc:spChg>
        <pc:spChg chg="mod">
          <ac:chgData name="Chris Gassman (he/him), CSB" userId="255d5b90-e4b1-47f3-87d9-bbdebc731cf9" providerId="ADAL" clId="{A1063716-D93A-4129-9E07-FB1A80FD0C49}" dt="2025-05-24T00:00:42.863" v="425" actId="20577"/>
          <ac:spMkLst>
            <pc:docMk/>
            <pc:sldMk cId="835244869" sldId="442"/>
            <ac:spMk id="7" creationId="{178E706F-95FF-1C22-C67A-43C0D91FA826}"/>
          </ac:spMkLst>
        </pc:spChg>
        <pc:graphicFrameChg chg="modGraphic">
          <ac:chgData name="Chris Gassman (he/him), CSB" userId="255d5b90-e4b1-47f3-87d9-bbdebc731cf9" providerId="ADAL" clId="{A1063716-D93A-4129-9E07-FB1A80FD0C49}" dt="2025-05-23T23:05:03.892" v="421" actId="790"/>
          <ac:graphicFrameMkLst>
            <pc:docMk/>
            <pc:sldMk cId="835244869" sldId="442"/>
            <ac:graphicFrameMk id="3" creationId="{D7D69FAC-2AC0-86C9-F533-2431E052B23A}"/>
          </ac:graphicFrameMkLst>
        </pc:graphicFrameChg>
        <pc:graphicFrameChg chg="add mod modGraphic">
          <ac:chgData name="Chris Gassman (he/him), CSB" userId="255d5b90-e4b1-47f3-87d9-bbdebc731cf9" providerId="ADAL" clId="{A1063716-D93A-4129-9E07-FB1A80FD0C49}" dt="2025-05-23T23:05:03.892" v="421" actId="790"/>
          <ac:graphicFrameMkLst>
            <pc:docMk/>
            <pc:sldMk cId="835244869" sldId="442"/>
            <ac:graphicFrameMk id="5" creationId="{54AB6E25-2E44-332F-2682-293F65DDF10E}"/>
          </ac:graphicFrameMkLst>
        </pc:graphicFrameChg>
        <pc:picChg chg="add mod">
          <ac:chgData name="Chris Gassman (he/him), CSB" userId="255d5b90-e4b1-47f3-87d9-bbdebc731cf9" providerId="ADAL" clId="{A1063716-D93A-4129-9E07-FB1A80FD0C49}" dt="2025-05-24T01:48:18.701" v="572"/>
          <ac:picMkLst>
            <pc:docMk/>
            <pc:sldMk cId="835244869" sldId="442"/>
            <ac:picMk id="8" creationId="{BDEBD481-7453-03A9-1EB2-A4A415D20DAA}"/>
          </ac:picMkLst>
        </pc:picChg>
      </pc:sldChg>
      <pc:sldChg chg="addSp delSp modSp mod">
        <pc:chgData name="Chris Gassman (he/him), CSB" userId="255d5b90-e4b1-47f3-87d9-bbdebc731cf9" providerId="ADAL" clId="{A1063716-D93A-4129-9E07-FB1A80FD0C49}" dt="2025-05-24T01:48:38.064" v="580"/>
        <pc:sldMkLst>
          <pc:docMk/>
          <pc:sldMk cId="1453918737" sldId="444"/>
        </pc:sldMkLst>
        <pc:spChg chg="mod">
          <ac:chgData name="Chris Gassman (he/him), CSB" userId="255d5b90-e4b1-47f3-87d9-bbdebc731cf9" providerId="ADAL" clId="{A1063716-D93A-4129-9E07-FB1A80FD0C49}" dt="2025-05-23T23:05:03.892" v="421" actId="790"/>
          <ac:spMkLst>
            <pc:docMk/>
            <pc:sldMk cId="1453918737" sldId="444"/>
            <ac:spMk id="3" creationId="{C29B97D4-354C-6DB6-0566-93E31D87C5D8}"/>
          </ac:spMkLst>
        </pc:spChg>
        <pc:spChg chg="mod">
          <ac:chgData name="Chris Gassman (he/him), CSB" userId="255d5b90-e4b1-47f3-87d9-bbdebc731cf9" providerId="ADAL" clId="{A1063716-D93A-4129-9E07-FB1A80FD0C49}" dt="2025-05-23T23:05:03.892" v="421" actId="790"/>
          <ac:spMkLst>
            <pc:docMk/>
            <pc:sldMk cId="1453918737" sldId="444"/>
            <ac:spMk id="11" creationId="{7ABD7347-3B74-124F-9D39-C8D7C4341B26}"/>
          </ac:spMkLst>
        </pc:spChg>
        <pc:spChg chg="mod">
          <ac:chgData name="Chris Gassman (he/him), CSB" userId="255d5b90-e4b1-47f3-87d9-bbdebc731cf9" providerId="ADAL" clId="{A1063716-D93A-4129-9E07-FB1A80FD0C49}" dt="2025-05-23T23:05:03.892" v="421" actId="790"/>
          <ac:spMkLst>
            <pc:docMk/>
            <pc:sldMk cId="1453918737" sldId="444"/>
            <ac:spMk id="12" creationId="{E98A0F81-B6CF-0D36-CDD4-0FDF82C8CBE2}"/>
          </ac:spMkLst>
        </pc:spChg>
        <pc:spChg chg="mod">
          <ac:chgData name="Chris Gassman (he/him), CSB" userId="255d5b90-e4b1-47f3-87d9-bbdebc731cf9" providerId="ADAL" clId="{A1063716-D93A-4129-9E07-FB1A80FD0C49}" dt="2025-05-23T23:05:03.892" v="421" actId="790"/>
          <ac:spMkLst>
            <pc:docMk/>
            <pc:sldMk cId="1453918737" sldId="444"/>
            <ac:spMk id="13" creationId="{710A83F8-63DC-AD3D-A190-EDDD0B6D1FDF}"/>
          </ac:spMkLst>
        </pc:spChg>
        <pc:graphicFrameChg chg="add mod modGraphic">
          <ac:chgData name="Chris Gassman (he/him), CSB" userId="255d5b90-e4b1-47f3-87d9-bbdebc731cf9" providerId="ADAL" clId="{A1063716-D93A-4129-9E07-FB1A80FD0C49}" dt="2025-05-23T23:05:03.892" v="421" actId="790"/>
          <ac:graphicFrameMkLst>
            <pc:docMk/>
            <pc:sldMk cId="1453918737" sldId="444"/>
            <ac:graphicFrameMk id="5" creationId="{6386B87C-B2E3-36A2-046B-3C7D986637E3}"/>
          </ac:graphicFrameMkLst>
        </pc:graphicFrameChg>
        <pc:graphicFrameChg chg="modGraphic">
          <ac:chgData name="Chris Gassman (he/him), CSB" userId="255d5b90-e4b1-47f3-87d9-bbdebc731cf9" providerId="ADAL" clId="{A1063716-D93A-4129-9E07-FB1A80FD0C49}" dt="2025-05-23T23:05:03.892" v="421" actId="790"/>
          <ac:graphicFrameMkLst>
            <pc:docMk/>
            <pc:sldMk cId="1453918737" sldId="444"/>
            <ac:graphicFrameMk id="6" creationId="{2AE0D92B-0BC8-99A8-83B6-1356D06A5B7C}"/>
          </ac:graphicFrameMkLst>
        </pc:graphicFrameChg>
        <pc:picChg chg="add mod">
          <ac:chgData name="Chris Gassman (he/him), CSB" userId="255d5b90-e4b1-47f3-87d9-bbdebc731cf9" providerId="ADAL" clId="{A1063716-D93A-4129-9E07-FB1A80FD0C49}" dt="2025-05-24T01:48:38.064" v="580"/>
          <ac:picMkLst>
            <pc:docMk/>
            <pc:sldMk cId="1453918737" sldId="444"/>
            <ac:picMk id="8" creationId="{197F3A64-91E2-F8B5-97E5-8A6BC6059306}"/>
          </ac:picMkLst>
        </pc:picChg>
      </pc:sldChg>
      <pc:sldChg chg="addSp modSp mod modCm">
        <pc:chgData name="Chris Gassman (he/him), CSB" userId="255d5b90-e4b1-47f3-87d9-bbdebc731cf9" providerId="ADAL" clId="{A1063716-D93A-4129-9E07-FB1A80FD0C49}" dt="2025-05-24T01:50:12.594" v="594"/>
        <pc:sldMkLst>
          <pc:docMk/>
          <pc:sldMk cId="3521687261" sldId="445"/>
        </pc:sldMkLst>
        <pc:spChg chg="add mod">
          <ac:chgData name="Chris Gassman (he/him), CSB" userId="255d5b90-e4b1-47f3-87d9-bbdebc731cf9" providerId="ADAL" clId="{A1063716-D93A-4129-9E07-FB1A80FD0C49}" dt="2025-05-24T01:50:12.594" v="594"/>
          <ac:spMkLst>
            <pc:docMk/>
            <pc:sldMk cId="3521687261" sldId="445"/>
            <ac:spMk id="4" creationId="{10F380F5-264A-F97F-828E-D3CFDB1BD286}"/>
          </ac:spMkLst>
        </pc:spChg>
        <pc:graphicFrameChg chg="add mod modGraphic">
          <ac:chgData name="Chris Gassman (he/him), CSB" userId="255d5b90-e4b1-47f3-87d9-bbdebc731cf9" providerId="ADAL" clId="{A1063716-D93A-4129-9E07-FB1A80FD0C49}" dt="2025-05-23T23:05:03.892" v="421" actId="790"/>
          <ac:graphicFrameMkLst>
            <pc:docMk/>
            <pc:sldMk cId="3521687261" sldId="445"/>
            <ac:graphicFrameMk id="2" creationId="{91760CEB-A4C7-4377-BA1C-BEE1469EBD6F}"/>
          </ac:graphicFrameMkLst>
        </pc:graphicFrameChg>
        <pc:graphicFrameChg chg="modGraphic">
          <ac:chgData name="Chris Gassman (he/him), CSB" userId="255d5b90-e4b1-47f3-87d9-bbdebc731cf9" providerId="ADAL" clId="{A1063716-D93A-4129-9E07-FB1A80FD0C49}" dt="2025-05-23T23:05:03.892" v="421" actId="790"/>
          <ac:graphicFrameMkLst>
            <pc:docMk/>
            <pc:sldMk cId="3521687261" sldId="445"/>
            <ac:graphicFrameMk id="6" creationId="{09F5E84D-8208-1C92-DBEB-D33ACBC0E113}"/>
          </ac:graphicFrameMkLst>
        </pc:graphicFrameChg>
        <pc:picChg chg="add mod">
          <ac:chgData name="Chris Gassman (he/him), CSB" userId="255d5b90-e4b1-47f3-87d9-bbdebc731cf9" providerId="ADAL" clId="{A1063716-D93A-4129-9E07-FB1A80FD0C49}" dt="2025-05-24T01:48:56.975" v="583"/>
          <ac:picMkLst>
            <pc:docMk/>
            <pc:sldMk cId="3521687261" sldId="445"/>
            <ac:picMk id="3" creationId="{D38FBAC3-BBF9-BA09-C74F-100F4EEDF9BC}"/>
          </ac:picMkLst>
        </pc:picChg>
        <pc:extLst>
          <p:ext xmlns:p="http://schemas.openxmlformats.org/presentationml/2006/main" uri="{D6D511B9-2390-475A-947B-AFAB55BFBCF1}">
            <pc226:cmChg xmlns:pc226="http://schemas.microsoft.com/office/powerpoint/2022/06/main/command" chg="mod">
              <pc226:chgData name="Chris Gassman (he/him), CSB" userId="255d5b90-e4b1-47f3-87d9-bbdebc731cf9" providerId="ADAL" clId="{A1063716-D93A-4129-9E07-FB1A80FD0C49}" dt="2025-05-24T00:51:26.723" v="477" actId="20577"/>
              <pc2:cmMkLst xmlns:pc2="http://schemas.microsoft.com/office/powerpoint/2019/9/main/command">
                <pc:docMk/>
                <pc:sldMk cId="3521687261" sldId="445"/>
                <pc2:cmMk id="{961DC819-AB9D-4709-BCD8-0C40A9CD7947}"/>
              </pc2:cmMkLst>
            </pc226:cmChg>
          </p:ext>
        </pc:extLst>
      </pc:sldChg>
      <pc:sldChg chg="addSp delSp modSp mod">
        <pc:chgData name="Chris Gassman (he/him), CSB" userId="255d5b90-e4b1-47f3-87d9-bbdebc731cf9" providerId="ADAL" clId="{A1063716-D93A-4129-9E07-FB1A80FD0C49}" dt="2025-05-24T01:48:33.956" v="578"/>
        <pc:sldMkLst>
          <pc:docMk/>
          <pc:sldMk cId="654132834" sldId="446"/>
        </pc:sldMkLst>
      </pc:sldChg>
      <pc:sldChg chg="addSp delSp modSp mod">
        <pc:chgData name="Chris Gassman (he/him), CSB" userId="255d5b90-e4b1-47f3-87d9-bbdebc731cf9" providerId="ADAL" clId="{A1063716-D93A-4129-9E07-FB1A80FD0C49}" dt="2025-05-24T01:48:24.606" v="574"/>
        <pc:sldMkLst>
          <pc:docMk/>
          <pc:sldMk cId="1798399341" sldId="447"/>
        </pc:sldMkLst>
        <pc:spChg chg="mod">
          <ac:chgData name="Chris Gassman (he/him), CSB" userId="255d5b90-e4b1-47f3-87d9-bbdebc731cf9" providerId="ADAL" clId="{A1063716-D93A-4129-9E07-FB1A80FD0C49}" dt="2025-05-23T23:05:03.892" v="421" actId="790"/>
          <ac:spMkLst>
            <pc:docMk/>
            <pc:sldMk cId="1798399341" sldId="447"/>
            <ac:spMk id="7" creationId="{BFFB1A90-1C1B-C316-62C5-46AAB765B7BB}"/>
          </ac:spMkLst>
        </pc:spChg>
        <pc:spChg chg="mod">
          <ac:chgData name="Chris Gassman (he/him), CSB" userId="255d5b90-e4b1-47f3-87d9-bbdebc731cf9" providerId="ADAL" clId="{A1063716-D93A-4129-9E07-FB1A80FD0C49}" dt="2025-05-23T23:05:03.892" v="421" actId="790"/>
          <ac:spMkLst>
            <pc:docMk/>
            <pc:sldMk cId="1798399341" sldId="447"/>
            <ac:spMk id="8" creationId="{C35144B2-17D6-2FBC-5119-3C3743951B0D}"/>
          </ac:spMkLst>
        </pc:spChg>
        <pc:spChg chg="mod">
          <ac:chgData name="Chris Gassman (he/him), CSB" userId="255d5b90-e4b1-47f3-87d9-bbdebc731cf9" providerId="ADAL" clId="{A1063716-D93A-4129-9E07-FB1A80FD0C49}" dt="2025-05-24T00:05:32.305" v="426" actId="113"/>
          <ac:spMkLst>
            <pc:docMk/>
            <pc:sldMk cId="1798399341" sldId="447"/>
            <ac:spMk id="12" creationId="{61FEFFFD-B4A4-FB2D-5530-89CFDAC3D3E5}"/>
          </ac:spMkLst>
        </pc:spChg>
        <pc:spChg chg="mod">
          <ac:chgData name="Chris Gassman (he/him), CSB" userId="255d5b90-e4b1-47f3-87d9-bbdebc731cf9" providerId="ADAL" clId="{A1063716-D93A-4129-9E07-FB1A80FD0C49}" dt="2025-05-24T00:11:39.729" v="433" actId="6549"/>
          <ac:spMkLst>
            <pc:docMk/>
            <pc:sldMk cId="1798399341" sldId="447"/>
            <ac:spMk id="14" creationId="{D6EAE57F-2AAD-7FFD-5DF8-B9489D7F3265}"/>
          </ac:spMkLst>
        </pc:spChg>
        <pc:spChg chg="mod">
          <ac:chgData name="Chris Gassman (he/him), CSB" userId="255d5b90-e4b1-47f3-87d9-bbdebc731cf9" providerId="ADAL" clId="{A1063716-D93A-4129-9E07-FB1A80FD0C49}" dt="2025-05-23T23:05:03.892" v="421" actId="790"/>
          <ac:spMkLst>
            <pc:docMk/>
            <pc:sldMk cId="1798399341" sldId="447"/>
            <ac:spMk id="15" creationId="{1CBB97F6-F5A4-13AF-9796-5F8F396B9256}"/>
          </ac:spMkLst>
        </pc:spChg>
        <pc:spChg chg="mod">
          <ac:chgData name="Chris Gassman (he/him), CSB" userId="255d5b90-e4b1-47f3-87d9-bbdebc731cf9" providerId="ADAL" clId="{A1063716-D93A-4129-9E07-FB1A80FD0C49}" dt="2025-05-23T23:05:03.892" v="421" actId="790"/>
          <ac:spMkLst>
            <pc:docMk/>
            <pc:sldMk cId="1798399341" sldId="447"/>
            <ac:spMk id="16" creationId="{747627A9-0169-CF93-6D41-F6760A06390A}"/>
          </ac:spMkLst>
        </pc:spChg>
        <pc:spChg chg="mod">
          <ac:chgData name="Chris Gassman (he/him), CSB" userId="255d5b90-e4b1-47f3-87d9-bbdebc731cf9" providerId="ADAL" clId="{A1063716-D93A-4129-9E07-FB1A80FD0C49}" dt="2025-05-24T00:12:44.676" v="434" actId="20577"/>
          <ac:spMkLst>
            <pc:docMk/>
            <pc:sldMk cId="1798399341" sldId="447"/>
            <ac:spMk id="17" creationId="{EEB0D8B1-C5BB-8FE6-7843-3E4C195EB112}"/>
          </ac:spMkLst>
        </pc:spChg>
        <pc:picChg chg="add mod">
          <ac:chgData name="Chris Gassman (he/him), CSB" userId="255d5b90-e4b1-47f3-87d9-bbdebc731cf9" providerId="ADAL" clId="{A1063716-D93A-4129-9E07-FB1A80FD0C49}" dt="2025-05-24T01:48:24.606" v="574"/>
          <ac:picMkLst>
            <pc:docMk/>
            <pc:sldMk cId="1798399341" sldId="447"/>
            <ac:picMk id="2" creationId="{691947B2-24B2-9674-98E5-C82A790BF71C}"/>
          </ac:picMkLst>
        </pc:picChg>
      </pc:sldChg>
      <pc:sldChg chg="addSp modSp mod modAnim">
        <pc:chgData name="Chris Gassman (he/him), CSB" userId="255d5b90-e4b1-47f3-87d9-bbdebc731cf9" providerId="ADAL" clId="{A1063716-D93A-4129-9E07-FB1A80FD0C49}" dt="2025-05-24T01:45:02.270" v="514"/>
        <pc:sldMkLst>
          <pc:docMk/>
          <pc:sldMk cId="3880380257" sldId="451"/>
        </pc:sldMkLst>
        <pc:spChg chg="mod">
          <ac:chgData name="Chris Gassman (he/him), CSB" userId="255d5b90-e4b1-47f3-87d9-bbdebc731cf9" providerId="ADAL" clId="{A1063716-D93A-4129-9E07-FB1A80FD0C49}" dt="2025-05-23T23:05:03.892" v="421" actId="790"/>
          <ac:spMkLst>
            <pc:docMk/>
            <pc:sldMk cId="3880380257" sldId="451"/>
            <ac:spMk id="2" creationId="{F13CCFB8-D300-7EE4-D565-5BF0A6C0F8F7}"/>
          </ac:spMkLst>
        </pc:spChg>
        <pc:spChg chg="mod">
          <ac:chgData name="Chris Gassman (he/him), CSB" userId="255d5b90-e4b1-47f3-87d9-bbdebc731cf9" providerId="ADAL" clId="{A1063716-D93A-4129-9E07-FB1A80FD0C49}" dt="2025-05-23T23:05:03.892" v="421" actId="790"/>
          <ac:spMkLst>
            <pc:docMk/>
            <pc:sldMk cId="3880380257" sldId="451"/>
            <ac:spMk id="4" creationId="{4A4A2A84-490D-5498-E255-64D3B7AB4C56}"/>
          </ac:spMkLst>
        </pc:spChg>
        <pc:spChg chg="mod">
          <ac:chgData name="Chris Gassman (he/him), CSB" userId="255d5b90-e4b1-47f3-87d9-bbdebc731cf9" providerId="ADAL" clId="{A1063716-D93A-4129-9E07-FB1A80FD0C49}" dt="2025-05-23T23:05:03.892" v="421" actId="790"/>
          <ac:spMkLst>
            <pc:docMk/>
            <pc:sldMk cId="3880380257" sldId="451"/>
            <ac:spMk id="5" creationId="{A39C5115-470F-265F-68A5-2CA0FE9340E5}"/>
          </ac:spMkLst>
        </pc:spChg>
        <pc:spChg chg="mod">
          <ac:chgData name="Chris Gassman (he/him), CSB" userId="255d5b90-e4b1-47f3-87d9-bbdebc731cf9" providerId="ADAL" clId="{A1063716-D93A-4129-9E07-FB1A80FD0C49}" dt="2025-05-23T23:05:03.892" v="421" actId="790"/>
          <ac:spMkLst>
            <pc:docMk/>
            <pc:sldMk cId="3880380257" sldId="451"/>
            <ac:spMk id="6" creationId="{111D2E18-50BC-E88D-83F7-BE21EF2B037E}"/>
          </ac:spMkLst>
        </pc:spChg>
        <pc:spChg chg="mod">
          <ac:chgData name="Chris Gassman (he/him), CSB" userId="255d5b90-e4b1-47f3-87d9-bbdebc731cf9" providerId="ADAL" clId="{A1063716-D93A-4129-9E07-FB1A80FD0C49}" dt="2025-05-23T23:05:03.892" v="421" actId="790"/>
          <ac:spMkLst>
            <pc:docMk/>
            <pc:sldMk cId="3880380257" sldId="451"/>
            <ac:spMk id="7" creationId="{4A6831EE-8FF0-9F61-AE91-FA78EAA45A2C}"/>
          </ac:spMkLst>
        </pc:spChg>
        <pc:spChg chg="mod">
          <ac:chgData name="Chris Gassman (he/him), CSB" userId="255d5b90-e4b1-47f3-87d9-bbdebc731cf9" providerId="ADAL" clId="{A1063716-D93A-4129-9E07-FB1A80FD0C49}" dt="2025-05-23T23:05:03.892" v="421" actId="790"/>
          <ac:spMkLst>
            <pc:docMk/>
            <pc:sldMk cId="3880380257" sldId="451"/>
            <ac:spMk id="11" creationId="{DB6C8883-111B-BECE-9666-690351D056EE}"/>
          </ac:spMkLst>
        </pc:spChg>
        <pc:spChg chg="mod">
          <ac:chgData name="Chris Gassman (he/him), CSB" userId="255d5b90-e4b1-47f3-87d9-bbdebc731cf9" providerId="ADAL" clId="{A1063716-D93A-4129-9E07-FB1A80FD0C49}" dt="2025-05-23T23:05:03.892" v="421" actId="790"/>
          <ac:spMkLst>
            <pc:docMk/>
            <pc:sldMk cId="3880380257" sldId="451"/>
            <ac:spMk id="12" creationId="{8E889EDF-93D9-79C5-CF9D-B7DA2CE04C29}"/>
          </ac:spMkLst>
        </pc:spChg>
        <pc:spChg chg="mod">
          <ac:chgData name="Chris Gassman (he/him), CSB" userId="255d5b90-e4b1-47f3-87d9-bbdebc731cf9" providerId="ADAL" clId="{A1063716-D93A-4129-9E07-FB1A80FD0C49}" dt="2025-05-23T23:05:03.892" v="421" actId="790"/>
          <ac:spMkLst>
            <pc:docMk/>
            <pc:sldMk cId="3880380257" sldId="451"/>
            <ac:spMk id="14" creationId="{55AB91F0-FB62-F45D-1FA7-DB9F4D5644B4}"/>
          </ac:spMkLst>
        </pc:spChg>
        <pc:spChg chg="mod">
          <ac:chgData name="Chris Gassman (he/him), CSB" userId="255d5b90-e4b1-47f3-87d9-bbdebc731cf9" providerId="ADAL" clId="{A1063716-D93A-4129-9E07-FB1A80FD0C49}" dt="2025-05-23T22:41:59.139" v="296" actId="113"/>
          <ac:spMkLst>
            <pc:docMk/>
            <pc:sldMk cId="3880380257" sldId="451"/>
            <ac:spMk id="15" creationId="{8D5D3466-2F38-B013-D9A6-442FEBEE364E}"/>
          </ac:spMkLst>
        </pc:spChg>
        <pc:spChg chg="mod">
          <ac:chgData name="Chris Gassman (he/him), CSB" userId="255d5b90-e4b1-47f3-87d9-bbdebc731cf9" providerId="ADAL" clId="{A1063716-D93A-4129-9E07-FB1A80FD0C49}" dt="2025-05-23T23:05:03.892" v="421" actId="790"/>
          <ac:spMkLst>
            <pc:docMk/>
            <pc:sldMk cId="3880380257" sldId="451"/>
            <ac:spMk id="17" creationId="{2203C8DF-8218-5B43-299B-2CD134638B79}"/>
          </ac:spMkLst>
        </pc:spChg>
        <pc:spChg chg="mod">
          <ac:chgData name="Chris Gassman (he/him), CSB" userId="255d5b90-e4b1-47f3-87d9-bbdebc731cf9" providerId="ADAL" clId="{A1063716-D93A-4129-9E07-FB1A80FD0C49}" dt="2025-05-23T22:42:02.268" v="297" actId="113"/>
          <ac:spMkLst>
            <pc:docMk/>
            <pc:sldMk cId="3880380257" sldId="451"/>
            <ac:spMk id="18" creationId="{8A2B48B7-C75B-5BC2-9864-D6F7BA1C4F83}"/>
          </ac:spMkLst>
        </pc:spChg>
        <pc:spChg chg="mod">
          <ac:chgData name="Chris Gassman (he/him), CSB" userId="255d5b90-e4b1-47f3-87d9-bbdebc731cf9" providerId="ADAL" clId="{A1063716-D93A-4129-9E07-FB1A80FD0C49}" dt="2025-05-23T23:05:03.892" v="421" actId="790"/>
          <ac:spMkLst>
            <pc:docMk/>
            <pc:sldMk cId="3880380257" sldId="451"/>
            <ac:spMk id="22" creationId="{2E6744AA-77B1-6EFE-328B-C396DA44C7D5}"/>
          </ac:spMkLst>
        </pc:spChg>
        <pc:graphicFrameChg chg="add mod">
          <ac:chgData name="Chris Gassman (he/him), CSB" userId="255d5b90-e4b1-47f3-87d9-bbdebc731cf9" providerId="ADAL" clId="{A1063716-D93A-4129-9E07-FB1A80FD0C49}" dt="2025-05-23T22:43:52.594" v="314" actId="1036"/>
          <ac:graphicFrameMkLst>
            <pc:docMk/>
            <pc:sldMk cId="3880380257" sldId="451"/>
            <ac:graphicFrameMk id="16" creationId="{1946CD3C-4EE8-0B9F-5A22-E698A21696C3}"/>
          </ac:graphicFrameMkLst>
        </pc:graphicFrameChg>
      </pc:sldChg>
      <pc:sldChg chg="addSp modSp mod">
        <pc:chgData name="Chris Gassman (he/him), CSB" userId="255d5b90-e4b1-47f3-87d9-bbdebc731cf9" providerId="ADAL" clId="{A1063716-D93A-4129-9E07-FB1A80FD0C49}" dt="2025-05-24T01:50:06.395" v="593" actId="14100"/>
        <pc:sldMkLst>
          <pc:docMk/>
          <pc:sldMk cId="3625720286" sldId="454"/>
        </pc:sldMkLst>
        <pc:spChg chg="add mod">
          <ac:chgData name="Chris Gassman (he/him), CSB" userId="255d5b90-e4b1-47f3-87d9-bbdebc731cf9" providerId="ADAL" clId="{A1063716-D93A-4129-9E07-FB1A80FD0C49}" dt="2025-05-24T01:50:06.395" v="593" actId="14100"/>
          <ac:spMkLst>
            <pc:docMk/>
            <pc:sldMk cId="3625720286" sldId="454"/>
            <ac:spMk id="5" creationId="{AF73FFF0-EA43-126D-FD14-B5A469C50479}"/>
          </ac:spMkLst>
        </pc:spChg>
        <pc:graphicFrameChg chg="add mod modGraphic">
          <ac:chgData name="Chris Gassman (he/him), CSB" userId="255d5b90-e4b1-47f3-87d9-bbdebc731cf9" providerId="ADAL" clId="{A1063716-D93A-4129-9E07-FB1A80FD0C49}" dt="2025-05-23T23:05:03.892" v="421" actId="790"/>
          <ac:graphicFrameMkLst>
            <pc:docMk/>
            <pc:sldMk cId="3625720286" sldId="454"/>
            <ac:graphicFrameMk id="2" creationId="{A74947E8-2478-76DF-FCF5-10B6D4036E03}"/>
          </ac:graphicFrameMkLst>
        </pc:graphicFrameChg>
        <pc:graphicFrameChg chg="modGraphic">
          <ac:chgData name="Chris Gassman (he/him), CSB" userId="255d5b90-e4b1-47f3-87d9-bbdebc731cf9" providerId="ADAL" clId="{A1063716-D93A-4129-9E07-FB1A80FD0C49}" dt="2025-05-23T23:05:03.892" v="421" actId="790"/>
          <ac:graphicFrameMkLst>
            <pc:docMk/>
            <pc:sldMk cId="3625720286" sldId="454"/>
            <ac:graphicFrameMk id="15" creationId="{79FC1FCC-26C0-A792-7F28-A3C37567C6C6}"/>
          </ac:graphicFrameMkLst>
        </pc:graphicFrameChg>
        <pc:picChg chg="add mod">
          <ac:chgData name="Chris Gassman (he/him), CSB" userId="255d5b90-e4b1-47f3-87d9-bbdebc731cf9" providerId="ADAL" clId="{A1063716-D93A-4129-9E07-FB1A80FD0C49}" dt="2025-05-24T01:48:42.928" v="581"/>
          <ac:picMkLst>
            <pc:docMk/>
            <pc:sldMk cId="3625720286" sldId="454"/>
            <ac:picMk id="4" creationId="{A4C376CC-76DD-175F-CB31-1A3CD197C185}"/>
          </ac:picMkLst>
        </pc:picChg>
      </pc:sldChg>
      <pc:sldChg chg="addSp delSp modSp mod">
        <pc:chgData name="Chris Gassman (he/him), CSB" userId="255d5b90-e4b1-47f3-87d9-bbdebc731cf9" providerId="ADAL" clId="{A1063716-D93A-4129-9E07-FB1A80FD0C49}" dt="2025-05-24T01:49:05.237" v="585"/>
        <pc:sldMkLst>
          <pc:docMk/>
          <pc:sldMk cId="3006985642" sldId="455"/>
        </pc:sldMkLst>
        <pc:spChg chg="mod">
          <ac:chgData name="Chris Gassman (he/him), CSB" userId="255d5b90-e4b1-47f3-87d9-bbdebc731cf9" providerId="ADAL" clId="{A1063716-D93A-4129-9E07-FB1A80FD0C49}" dt="2025-05-23T23:05:03.892" v="421" actId="790"/>
          <ac:spMkLst>
            <pc:docMk/>
            <pc:sldMk cId="3006985642" sldId="455"/>
            <ac:spMk id="6" creationId="{D86BF492-9E96-FD22-6F15-46BD93E0AFD7}"/>
          </ac:spMkLst>
        </pc:spChg>
        <pc:spChg chg="mod">
          <ac:chgData name="Chris Gassman (he/him), CSB" userId="255d5b90-e4b1-47f3-87d9-bbdebc731cf9" providerId="ADAL" clId="{A1063716-D93A-4129-9E07-FB1A80FD0C49}" dt="2025-05-23T23:05:03.892" v="421" actId="790"/>
          <ac:spMkLst>
            <pc:docMk/>
            <pc:sldMk cId="3006985642" sldId="455"/>
            <ac:spMk id="9" creationId="{A6881015-1EBF-AAC3-85E0-DB9C7039CDCB}"/>
          </ac:spMkLst>
        </pc:spChg>
        <pc:spChg chg="mod">
          <ac:chgData name="Chris Gassman (he/him), CSB" userId="255d5b90-e4b1-47f3-87d9-bbdebc731cf9" providerId="ADAL" clId="{A1063716-D93A-4129-9E07-FB1A80FD0C49}" dt="2025-05-24T00:53:05.765" v="491" actId="14100"/>
          <ac:spMkLst>
            <pc:docMk/>
            <pc:sldMk cId="3006985642" sldId="455"/>
            <ac:spMk id="12" creationId="{41BD0CC5-D5CE-BA84-7554-EEB5BBBB05E8}"/>
          </ac:spMkLst>
        </pc:spChg>
        <pc:graphicFrameChg chg="add mod modGraphic">
          <ac:chgData name="Chris Gassman (he/him), CSB" userId="255d5b90-e4b1-47f3-87d9-bbdebc731cf9" providerId="ADAL" clId="{A1063716-D93A-4129-9E07-FB1A80FD0C49}" dt="2025-05-23T23:05:03.892" v="421" actId="790"/>
          <ac:graphicFrameMkLst>
            <pc:docMk/>
            <pc:sldMk cId="3006985642" sldId="455"/>
            <ac:graphicFrameMk id="5" creationId="{3523E3CF-2462-598C-4CF9-9C7548E001F3}"/>
          </ac:graphicFrameMkLst>
        </pc:graphicFrameChg>
        <pc:picChg chg="add mod">
          <ac:chgData name="Chris Gassman (he/him), CSB" userId="255d5b90-e4b1-47f3-87d9-bbdebc731cf9" providerId="ADAL" clId="{A1063716-D93A-4129-9E07-FB1A80FD0C49}" dt="2025-05-24T01:49:05.237" v="585"/>
          <ac:picMkLst>
            <pc:docMk/>
            <pc:sldMk cId="3006985642" sldId="455"/>
            <ac:picMk id="7" creationId="{116890CD-8F90-6378-2EB9-FFE464DC3847}"/>
          </ac:picMkLst>
        </pc:picChg>
      </pc:sldChg>
      <pc:sldChg chg="addSp delSp modSp mod">
        <pc:chgData name="Chris Gassman (he/him), CSB" userId="255d5b90-e4b1-47f3-87d9-bbdebc731cf9" providerId="ADAL" clId="{A1063716-D93A-4129-9E07-FB1A80FD0C49}" dt="2025-05-24T01:49:09.200" v="587"/>
        <pc:sldMkLst>
          <pc:docMk/>
          <pc:sldMk cId="2013380474" sldId="456"/>
        </pc:sldMkLst>
        <pc:spChg chg="mod">
          <ac:chgData name="Chris Gassman (he/him), CSB" userId="255d5b90-e4b1-47f3-87d9-bbdebc731cf9" providerId="ADAL" clId="{A1063716-D93A-4129-9E07-FB1A80FD0C49}" dt="2025-05-23T23:05:03.892" v="421" actId="790"/>
          <ac:spMkLst>
            <pc:docMk/>
            <pc:sldMk cId="2013380474" sldId="456"/>
            <ac:spMk id="3" creationId="{06685C57-8112-2CEC-F987-0B5D01CEFC98}"/>
          </ac:spMkLst>
        </pc:spChg>
        <pc:graphicFrameChg chg="add mod modGraphic">
          <ac:chgData name="Chris Gassman (he/him), CSB" userId="255d5b90-e4b1-47f3-87d9-bbdebc731cf9" providerId="ADAL" clId="{A1063716-D93A-4129-9E07-FB1A80FD0C49}" dt="2025-05-23T23:05:03.892" v="421" actId="790"/>
          <ac:graphicFrameMkLst>
            <pc:docMk/>
            <pc:sldMk cId="2013380474" sldId="456"/>
            <ac:graphicFrameMk id="4" creationId="{C47A8ED2-E744-5700-04AE-822FC1C500F4}"/>
          </ac:graphicFrameMkLst>
        </pc:graphicFrameChg>
        <pc:picChg chg="add mod">
          <ac:chgData name="Chris Gassman (he/him), CSB" userId="255d5b90-e4b1-47f3-87d9-bbdebc731cf9" providerId="ADAL" clId="{A1063716-D93A-4129-9E07-FB1A80FD0C49}" dt="2025-05-24T01:49:09.200" v="587"/>
          <ac:picMkLst>
            <pc:docMk/>
            <pc:sldMk cId="2013380474" sldId="456"/>
            <ac:picMk id="5" creationId="{B29B69E6-E105-B995-C41A-0EA66E1218B0}"/>
          </ac:picMkLst>
        </pc:picChg>
      </pc:sldChg>
      <pc:sldChg chg="addSp delSp modSp mod modCm">
        <pc:chgData name="Chris Gassman (he/him), CSB" userId="255d5b90-e4b1-47f3-87d9-bbdebc731cf9" providerId="ADAL" clId="{A1063716-D93A-4129-9E07-FB1A80FD0C49}" dt="2025-05-24T01:48:29.152" v="576"/>
        <pc:sldMkLst>
          <pc:docMk/>
          <pc:sldMk cId="197560797" sldId="457"/>
        </pc:sldMkLst>
        <pc:spChg chg="mod">
          <ac:chgData name="Chris Gassman (he/him), CSB" userId="255d5b90-e4b1-47f3-87d9-bbdebc731cf9" providerId="ADAL" clId="{A1063716-D93A-4129-9E07-FB1A80FD0C49}" dt="2025-05-23T23:05:03.892" v="421" actId="790"/>
          <ac:spMkLst>
            <pc:docMk/>
            <pc:sldMk cId="197560797" sldId="457"/>
            <ac:spMk id="4" creationId="{6B927F50-1460-D5A3-C1E1-E506EB0CC5E5}"/>
          </ac:spMkLst>
        </pc:spChg>
        <pc:spChg chg="mod">
          <ac:chgData name="Chris Gassman (he/him), CSB" userId="255d5b90-e4b1-47f3-87d9-bbdebc731cf9" providerId="ADAL" clId="{A1063716-D93A-4129-9E07-FB1A80FD0C49}" dt="2025-05-23T23:05:03.892" v="421" actId="790"/>
          <ac:spMkLst>
            <pc:docMk/>
            <pc:sldMk cId="197560797" sldId="457"/>
            <ac:spMk id="6" creationId="{D30FCE85-7638-9D7B-21AC-1AB59C4AD95D}"/>
          </ac:spMkLst>
        </pc:spChg>
        <pc:spChg chg="mod">
          <ac:chgData name="Chris Gassman (he/him), CSB" userId="255d5b90-e4b1-47f3-87d9-bbdebc731cf9" providerId="ADAL" clId="{A1063716-D93A-4129-9E07-FB1A80FD0C49}" dt="2025-05-24T00:39:10.286" v="473" actId="113"/>
          <ac:spMkLst>
            <pc:docMk/>
            <pc:sldMk cId="197560797" sldId="457"/>
            <ac:spMk id="11" creationId="{1BE36E72-6C85-C1B5-EDC3-57195876824B}"/>
          </ac:spMkLst>
        </pc:spChg>
        <pc:graphicFrameChg chg="add mod modGraphic">
          <ac:chgData name="Chris Gassman (he/him), CSB" userId="255d5b90-e4b1-47f3-87d9-bbdebc731cf9" providerId="ADAL" clId="{A1063716-D93A-4129-9E07-FB1A80FD0C49}" dt="2025-05-23T23:05:03.892" v="421" actId="790"/>
          <ac:graphicFrameMkLst>
            <pc:docMk/>
            <pc:sldMk cId="197560797" sldId="457"/>
            <ac:graphicFrameMk id="5" creationId="{9E013646-A445-9081-EBBD-3D96EE005152}"/>
          </ac:graphicFrameMkLst>
        </pc:graphicFrameChg>
        <pc:graphicFrameChg chg="modGraphic">
          <ac:chgData name="Chris Gassman (he/him), CSB" userId="255d5b90-e4b1-47f3-87d9-bbdebc731cf9" providerId="ADAL" clId="{A1063716-D93A-4129-9E07-FB1A80FD0C49}" dt="2025-05-23T23:05:03.892" v="421" actId="790"/>
          <ac:graphicFrameMkLst>
            <pc:docMk/>
            <pc:sldMk cId="197560797" sldId="457"/>
            <ac:graphicFrameMk id="9" creationId="{5D934A52-665E-08E1-CD39-9A8C877220AD}"/>
          </ac:graphicFrameMkLst>
        </pc:graphicFrameChg>
        <pc:picChg chg="add mod">
          <ac:chgData name="Chris Gassman (he/him), CSB" userId="255d5b90-e4b1-47f3-87d9-bbdebc731cf9" providerId="ADAL" clId="{A1063716-D93A-4129-9E07-FB1A80FD0C49}" dt="2025-05-24T01:48:29.152" v="576"/>
          <ac:picMkLst>
            <pc:docMk/>
            <pc:sldMk cId="197560797" sldId="457"/>
            <ac:picMk id="7" creationId="{0FC61E4D-130C-1C85-9DB1-61BE71741E3E}"/>
          </ac:picMkLst>
        </pc:picChg>
        <pc:extLst>
          <p:ext xmlns:p="http://schemas.openxmlformats.org/presentationml/2006/main" uri="{D6D511B9-2390-475A-947B-AFAB55BFBCF1}">
            <pc226:cmChg xmlns:pc226="http://schemas.microsoft.com/office/powerpoint/2022/06/main/command" chg="mod">
              <pc226:chgData name="Chris Gassman (he/him), CSB" userId="255d5b90-e4b1-47f3-87d9-bbdebc731cf9" providerId="ADAL" clId="{A1063716-D93A-4129-9E07-FB1A80FD0C49}" dt="2025-05-24T00:39:07.245" v="472" actId="20577"/>
              <pc2:cmMkLst xmlns:pc2="http://schemas.microsoft.com/office/powerpoint/2019/9/main/command">
                <pc:docMk/>
                <pc:sldMk cId="197560797" sldId="457"/>
                <pc2:cmMk id="{2AD3A326-5C6F-463F-8036-1173F8E07F2A}"/>
              </pc2:cmMkLst>
            </pc226:cmChg>
            <pc226:cmChg xmlns:pc226="http://schemas.microsoft.com/office/powerpoint/2022/06/main/command" chg="mod">
              <pc226:chgData name="Chris Gassman (he/him), CSB" userId="255d5b90-e4b1-47f3-87d9-bbdebc731cf9" providerId="ADAL" clId="{A1063716-D93A-4129-9E07-FB1A80FD0C49}" dt="2025-05-24T00:39:07.245" v="472" actId="20577"/>
              <pc2:cmMkLst xmlns:pc2="http://schemas.microsoft.com/office/powerpoint/2019/9/main/command">
                <pc:docMk/>
                <pc:sldMk cId="197560797" sldId="457"/>
                <pc2:cmMk id="{E19B142B-5425-45ED-8EE6-2A5961D32E38}"/>
              </pc2:cmMkLst>
            </pc226:cmChg>
            <pc226:cmChg xmlns:pc226="http://schemas.microsoft.com/office/powerpoint/2022/06/main/command" chg="mod">
              <pc226:chgData name="Chris Gassman (he/him), CSB" userId="255d5b90-e4b1-47f3-87d9-bbdebc731cf9" providerId="ADAL" clId="{A1063716-D93A-4129-9E07-FB1A80FD0C49}" dt="2025-05-24T00:39:07.245" v="472" actId="20577"/>
              <pc2:cmMkLst xmlns:pc2="http://schemas.microsoft.com/office/powerpoint/2019/9/main/command">
                <pc:docMk/>
                <pc:sldMk cId="197560797" sldId="457"/>
                <pc2:cmMk id="{09BFE04F-E432-431D-861D-0EB2F676BF74}"/>
              </pc2:cmMkLst>
            </pc226:cmChg>
            <pc226:cmChg xmlns:pc226="http://schemas.microsoft.com/office/powerpoint/2022/06/main/command" chg="mod">
              <pc226:chgData name="Chris Gassman (he/him), CSB" userId="255d5b90-e4b1-47f3-87d9-bbdebc731cf9" providerId="ADAL" clId="{A1063716-D93A-4129-9E07-FB1A80FD0C49}" dt="2025-05-24T00:39:07.245" v="472" actId="20577"/>
              <pc2:cmMkLst xmlns:pc2="http://schemas.microsoft.com/office/powerpoint/2019/9/main/command">
                <pc:docMk/>
                <pc:sldMk cId="197560797" sldId="457"/>
                <pc2:cmMk id="{F556E077-132F-458D-88D2-99E17998148C}"/>
              </pc2:cmMkLst>
            </pc226:cmChg>
          </p:ext>
        </pc:extLst>
      </pc:sldChg>
      <pc:sldChg chg="delSp modSp mod">
        <pc:chgData name="Chris Gassman (he/him), CSB" userId="255d5b90-e4b1-47f3-87d9-bbdebc731cf9" providerId="ADAL" clId="{A1063716-D93A-4129-9E07-FB1A80FD0C49}" dt="2025-05-23T23:05:03.892" v="421" actId="790"/>
        <pc:sldMkLst>
          <pc:docMk/>
          <pc:sldMk cId="2543669901" sldId="459"/>
        </pc:sldMkLst>
        <pc:spChg chg="mod">
          <ac:chgData name="Chris Gassman (he/him), CSB" userId="255d5b90-e4b1-47f3-87d9-bbdebc731cf9" providerId="ADAL" clId="{A1063716-D93A-4129-9E07-FB1A80FD0C49}" dt="2025-05-23T23:05:03.892" v="421" actId="790"/>
          <ac:spMkLst>
            <pc:docMk/>
            <pc:sldMk cId="2543669901" sldId="459"/>
            <ac:spMk id="2" creationId="{CA2635CA-6598-2AC3-F490-F1A3A2CF20EA}"/>
          </ac:spMkLst>
        </pc:spChg>
        <pc:spChg chg="mod">
          <ac:chgData name="Chris Gassman (he/him), CSB" userId="255d5b90-e4b1-47f3-87d9-bbdebc731cf9" providerId="ADAL" clId="{A1063716-D93A-4129-9E07-FB1A80FD0C49}" dt="2025-05-23T23:05:03.892" v="421" actId="790"/>
          <ac:spMkLst>
            <pc:docMk/>
            <pc:sldMk cId="2543669901" sldId="459"/>
            <ac:spMk id="24" creationId="{5B6D4F6A-C7DF-F55D-3573-9224E58601CA}"/>
          </ac:spMkLst>
        </pc:spChg>
        <pc:spChg chg="mod">
          <ac:chgData name="Chris Gassman (he/him), CSB" userId="255d5b90-e4b1-47f3-87d9-bbdebc731cf9" providerId="ADAL" clId="{A1063716-D93A-4129-9E07-FB1A80FD0C49}" dt="2025-05-23T23:05:03.892" v="421" actId="790"/>
          <ac:spMkLst>
            <pc:docMk/>
            <pc:sldMk cId="2543669901" sldId="459"/>
            <ac:spMk id="29" creationId="{311FFF52-B5B2-2435-A4F8-C73E376DE0AE}"/>
          </ac:spMkLst>
        </pc:spChg>
        <pc:picChg chg="mod">
          <ac:chgData name="Chris Gassman (he/him), CSB" userId="255d5b90-e4b1-47f3-87d9-bbdebc731cf9" providerId="ADAL" clId="{A1063716-D93A-4129-9E07-FB1A80FD0C49}" dt="2025-05-23T21:56:55.505" v="232" actId="1076"/>
          <ac:picMkLst>
            <pc:docMk/>
            <pc:sldMk cId="2543669901" sldId="459"/>
            <ac:picMk id="3089" creationId="{5E71ECB9-9E87-CF9E-91D5-3639D793C906}"/>
          </ac:picMkLst>
        </pc:picChg>
      </pc:sldChg>
      <pc:sldChg chg="addSp modSp mod">
        <pc:chgData name="Chris Gassman (he/him), CSB" userId="255d5b90-e4b1-47f3-87d9-bbdebc731cf9" providerId="ADAL" clId="{A1063716-D93A-4129-9E07-FB1A80FD0C49}" dt="2025-05-24T01:47:33.326" v="558" actId="1036"/>
        <pc:sldMkLst>
          <pc:docMk/>
          <pc:sldMk cId="274071638" sldId="461"/>
        </pc:sldMkLst>
        <pc:spChg chg="mod">
          <ac:chgData name="Chris Gassman (he/him), CSB" userId="255d5b90-e4b1-47f3-87d9-bbdebc731cf9" providerId="ADAL" clId="{A1063716-D93A-4129-9E07-FB1A80FD0C49}" dt="2025-05-24T01:45:55.259" v="524" actId="1035"/>
          <ac:spMkLst>
            <pc:docMk/>
            <pc:sldMk cId="274071638" sldId="461"/>
            <ac:spMk id="4" creationId="{13BB2741-92FF-CED6-58F3-9C352CCB122E}"/>
          </ac:spMkLst>
        </pc:spChg>
        <pc:spChg chg="mod">
          <ac:chgData name="Chris Gassman (he/him), CSB" userId="255d5b90-e4b1-47f3-87d9-bbdebc731cf9" providerId="ADAL" clId="{A1063716-D93A-4129-9E07-FB1A80FD0C49}" dt="2025-05-24T01:45:55.259" v="524" actId="1035"/>
          <ac:spMkLst>
            <pc:docMk/>
            <pc:sldMk cId="274071638" sldId="461"/>
            <ac:spMk id="7" creationId="{A97FDE36-F010-79B9-04E4-924FBA593684}"/>
          </ac:spMkLst>
        </pc:spChg>
        <pc:spChg chg="mod">
          <ac:chgData name="Chris Gassman (he/him), CSB" userId="255d5b90-e4b1-47f3-87d9-bbdebc731cf9" providerId="ADAL" clId="{A1063716-D93A-4129-9E07-FB1A80FD0C49}" dt="2025-05-24T01:45:55.259" v="524" actId="1035"/>
          <ac:spMkLst>
            <pc:docMk/>
            <pc:sldMk cId="274071638" sldId="461"/>
            <ac:spMk id="20" creationId="{1ECFAF80-3C96-05BA-271B-F10CDAB8AC13}"/>
          </ac:spMkLst>
        </pc:spChg>
        <pc:spChg chg="mod">
          <ac:chgData name="Chris Gassman (he/him), CSB" userId="255d5b90-e4b1-47f3-87d9-bbdebc731cf9" providerId="ADAL" clId="{A1063716-D93A-4129-9E07-FB1A80FD0C49}" dt="2025-05-24T01:45:55.259" v="524" actId="1035"/>
          <ac:spMkLst>
            <pc:docMk/>
            <pc:sldMk cId="274071638" sldId="461"/>
            <ac:spMk id="23" creationId="{15822E3D-2C1A-280B-A2E8-7FECE2BCCFA4}"/>
          </ac:spMkLst>
        </pc:spChg>
        <pc:spChg chg="mod">
          <ac:chgData name="Chris Gassman (he/him), CSB" userId="255d5b90-e4b1-47f3-87d9-bbdebc731cf9" providerId="ADAL" clId="{A1063716-D93A-4129-9E07-FB1A80FD0C49}" dt="2025-05-24T01:45:39.457" v="518" actId="404"/>
          <ac:spMkLst>
            <pc:docMk/>
            <pc:sldMk cId="274071638" sldId="461"/>
            <ac:spMk id="25" creationId="{E7F6F311-5442-C455-FC11-AF1C3B34BB20}"/>
          </ac:spMkLst>
        </pc:spChg>
        <pc:spChg chg="mod">
          <ac:chgData name="Chris Gassman (he/him), CSB" userId="255d5b90-e4b1-47f3-87d9-bbdebc731cf9" providerId="ADAL" clId="{A1063716-D93A-4129-9E07-FB1A80FD0C49}" dt="2025-05-24T01:45:55.259" v="524" actId="1035"/>
          <ac:spMkLst>
            <pc:docMk/>
            <pc:sldMk cId="274071638" sldId="461"/>
            <ac:spMk id="26" creationId="{452B0014-4DAC-DBDC-3DE0-9B161D4D67E8}"/>
          </ac:spMkLst>
        </pc:spChg>
        <pc:spChg chg="mod">
          <ac:chgData name="Chris Gassman (he/him), CSB" userId="255d5b90-e4b1-47f3-87d9-bbdebc731cf9" providerId="ADAL" clId="{A1063716-D93A-4129-9E07-FB1A80FD0C49}" dt="2025-05-24T01:45:55.259" v="524" actId="1035"/>
          <ac:spMkLst>
            <pc:docMk/>
            <pc:sldMk cId="274071638" sldId="461"/>
            <ac:spMk id="27" creationId="{56090AFE-88CA-BF2E-7827-9C34123AE7FE}"/>
          </ac:spMkLst>
        </pc:spChg>
        <pc:spChg chg="mod">
          <ac:chgData name="Chris Gassman (he/him), CSB" userId="255d5b90-e4b1-47f3-87d9-bbdebc731cf9" providerId="ADAL" clId="{A1063716-D93A-4129-9E07-FB1A80FD0C49}" dt="2025-05-24T01:45:55.259" v="524" actId="1035"/>
          <ac:spMkLst>
            <pc:docMk/>
            <pc:sldMk cId="274071638" sldId="461"/>
            <ac:spMk id="28" creationId="{684662BF-4AB4-8B20-E558-86C1941AD480}"/>
          </ac:spMkLst>
        </pc:spChg>
        <pc:spChg chg="mod">
          <ac:chgData name="Chris Gassman (he/him), CSB" userId="255d5b90-e4b1-47f3-87d9-bbdebc731cf9" providerId="ADAL" clId="{A1063716-D93A-4129-9E07-FB1A80FD0C49}" dt="2025-05-24T01:45:55.259" v="524" actId="1035"/>
          <ac:spMkLst>
            <pc:docMk/>
            <pc:sldMk cId="274071638" sldId="461"/>
            <ac:spMk id="134" creationId="{F860FDF0-6747-B22F-F322-39D248EAD27C}"/>
          </ac:spMkLst>
        </pc:spChg>
        <pc:spChg chg="mod">
          <ac:chgData name="Chris Gassman (he/him), CSB" userId="255d5b90-e4b1-47f3-87d9-bbdebc731cf9" providerId="ADAL" clId="{A1063716-D93A-4129-9E07-FB1A80FD0C49}" dt="2025-05-24T01:45:55.259" v="524" actId="1035"/>
          <ac:spMkLst>
            <pc:docMk/>
            <pc:sldMk cId="274071638" sldId="461"/>
            <ac:spMk id="136" creationId="{2F6C13DE-3CC5-4569-BC05-4BD9D421B7D6}"/>
          </ac:spMkLst>
        </pc:spChg>
        <pc:spChg chg="mod">
          <ac:chgData name="Chris Gassman (he/him), CSB" userId="255d5b90-e4b1-47f3-87d9-bbdebc731cf9" providerId="ADAL" clId="{A1063716-D93A-4129-9E07-FB1A80FD0C49}" dt="2025-05-24T01:45:55.259" v="524" actId="1035"/>
          <ac:spMkLst>
            <pc:docMk/>
            <pc:sldMk cId="274071638" sldId="461"/>
            <ac:spMk id="137" creationId="{75BD8667-4A2C-9083-5987-AE3F1AFFB00B}"/>
          </ac:spMkLst>
        </pc:spChg>
        <pc:spChg chg="mod">
          <ac:chgData name="Chris Gassman (he/him), CSB" userId="255d5b90-e4b1-47f3-87d9-bbdebc731cf9" providerId="ADAL" clId="{A1063716-D93A-4129-9E07-FB1A80FD0C49}" dt="2025-05-23T23:05:03.892" v="421" actId="790"/>
          <ac:spMkLst>
            <pc:docMk/>
            <pc:sldMk cId="274071638" sldId="461"/>
            <ac:spMk id="146" creationId="{9E15BC6F-2949-B000-8AF6-5A650D5A57F5}"/>
          </ac:spMkLst>
        </pc:spChg>
        <pc:graphicFrameChg chg="add mod">
          <ac:chgData name="Chris Gassman (he/him), CSB" userId="255d5b90-e4b1-47f3-87d9-bbdebc731cf9" providerId="ADAL" clId="{A1063716-D93A-4129-9E07-FB1A80FD0C49}" dt="2025-05-23T22:43:33.558" v="306" actId="207"/>
          <ac:graphicFrameMkLst>
            <pc:docMk/>
            <pc:sldMk cId="274071638" sldId="461"/>
            <ac:graphicFrameMk id="3" creationId="{EA2E1740-B259-8488-C607-6886D5416F26}"/>
          </ac:graphicFrameMkLst>
        </pc:graphicFrameChg>
        <pc:picChg chg="add mod">
          <ac:chgData name="Chris Gassman (he/him), CSB" userId="255d5b90-e4b1-47f3-87d9-bbdebc731cf9" providerId="ADAL" clId="{A1063716-D93A-4129-9E07-FB1A80FD0C49}" dt="2025-05-24T01:47:33.326" v="558" actId="1036"/>
          <ac:picMkLst>
            <pc:docMk/>
            <pc:sldMk cId="274071638" sldId="461"/>
            <ac:picMk id="5" creationId="{DA18D059-FA68-B847-7134-E81BC370298B}"/>
          </ac:picMkLst>
        </pc:picChg>
      </pc:sldChg>
      <pc:sldChg chg="addSp delSp modSp mod modAnim">
        <pc:chgData name="Chris Gassman (he/him), CSB" userId="255d5b90-e4b1-47f3-87d9-bbdebc731cf9" providerId="ADAL" clId="{A1063716-D93A-4129-9E07-FB1A80FD0C49}" dt="2025-05-24T01:52:05.752" v="604"/>
        <pc:sldMkLst>
          <pc:docMk/>
          <pc:sldMk cId="3428846195" sldId="462"/>
        </pc:sldMkLst>
        <pc:spChg chg="mod">
          <ac:chgData name="Chris Gassman (he/him), CSB" userId="255d5b90-e4b1-47f3-87d9-bbdebc731cf9" providerId="ADAL" clId="{A1063716-D93A-4129-9E07-FB1A80FD0C49}" dt="2025-05-23T23:05:03.892" v="421" actId="790"/>
          <ac:spMkLst>
            <pc:docMk/>
            <pc:sldMk cId="3428846195" sldId="462"/>
            <ac:spMk id="6" creationId="{AA77C8EF-8894-054B-FCFF-8222AD5F2CF9}"/>
          </ac:spMkLst>
        </pc:spChg>
        <pc:spChg chg="mod">
          <ac:chgData name="Chris Gassman (he/him), CSB" userId="255d5b90-e4b1-47f3-87d9-bbdebc731cf9" providerId="ADAL" clId="{A1063716-D93A-4129-9E07-FB1A80FD0C49}" dt="2025-05-23T23:05:03.892" v="421" actId="790"/>
          <ac:spMkLst>
            <pc:docMk/>
            <pc:sldMk cId="3428846195" sldId="462"/>
            <ac:spMk id="7" creationId="{8D868062-862A-D98F-A6EA-78AE00764B7F}"/>
          </ac:spMkLst>
        </pc:spChg>
        <pc:spChg chg="mod">
          <ac:chgData name="Chris Gassman (he/him), CSB" userId="255d5b90-e4b1-47f3-87d9-bbdebc731cf9" providerId="ADAL" clId="{A1063716-D93A-4129-9E07-FB1A80FD0C49}" dt="2025-05-23T23:05:03.892" v="421" actId="790"/>
          <ac:spMkLst>
            <pc:docMk/>
            <pc:sldMk cId="3428846195" sldId="462"/>
            <ac:spMk id="9" creationId="{610538BC-EEF9-F6FE-E77B-0793E6F88A89}"/>
          </ac:spMkLst>
        </pc:spChg>
        <pc:spChg chg="mod">
          <ac:chgData name="Chris Gassman (he/him), CSB" userId="255d5b90-e4b1-47f3-87d9-bbdebc731cf9" providerId="ADAL" clId="{A1063716-D93A-4129-9E07-FB1A80FD0C49}" dt="2025-05-23T23:05:03.892" v="421" actId="790"/>
          <ac:spMkLst>
            <pc:docMk/>
            <pc:sldMk cId="3428846195" sldId="462"/>
            <ac:spMk id="11" creationId="{4C03D9F5-9297-F876-2185-77A14296A426}"/>
          </ac:spMkLst>
        </pc:spChg>
        <pc:spChg chg="mod">
          <ac:chgData name="Chris Gassman (he/him), CSB" userId="255d5b90-e4b1-47f3-87d9-bbdebc731cf9" providerId="ADAL" clId="{A1063716-D93A-4129-9E07-FB1A80FD0C49}" dt="2025-05-23T23:05:03.892" v="421" actId="790"/>
          <ac:spMkLst>
            <pc:docMk/>
            <pc:sldMk cId="3428846195" sldId="462"/>
            <ac:spMk id="13" creationId="{B70B61AA-EADA-62E0-2538-7EA539751A0A}"/>
          </ac:spMkLst>
        </pc:spChg>
        <pc:spChg chg="mod">
          <ac:chgData name="Chris Gassman (he/him), CSB" userId="255d5b90-e4b1-47f3-87d9-bbdebc731cf9" providerId="ADAL" clId="{A1063716-D93A-4129-9E07-FB1A80FD0C49}" dt="2025-05-23T23:05:03.892" v="421" actId="790"/>
          <ac:spMkLst>
            <pc:docMk/>
            <pc:sldMk cId="3428846195" sldId="462"/>
            <ac:spMk id="14" creationId="{8BA27D98-FD7F-16E9-E7EE-252BB3E9C849}"/>
          </ac:spMkLst>
        </pc:spChg>
        <pc:spChg chg="mod">
          <ac:chgData name="Chris Gassman (he/him), CSB" userId="255d5b90-e4b1-47f3-87d9-bbdebc731cf9" providerId="ADAL" clId="{A1063716-D93A-4129-9E07-FB1A80FD0C49}" dt="2025-05-23T23:05:03.892" v="421" actId="790"/>
          <ac:spMkLst>
            <pc:docMk/>
            <pc:sldMk cId="3428846195" sldId="462"/>
            <ac:spMk id="15" creationId="{3671F5F2-CFFC-F2A9-2310-D6A63416A000}"/>
          </ac:spMkLst>
        </pc:spChg>
        <pc:spChg chg="mod">
          <ac:chgData name="Chris Gassman (he/him), CSB" userId="255d5b90-e4b1-47f3-87d9-bbdebc731cf9" providerId="ADAL" clId="{A1063716-D93A-4129-9E07-FB1A80FD0C49}" dt="2025-05-23T23:05:03.892" v="421" actId="790"/>
          <ac:spMkLst>
            <pc:docMk/>
            <pc:sldMk cId="3428846195" sldId="462"/>
            <ac:spMk id="17" creationId="{29E7BCE8-3351-D703-AC3E-CC109827190E}"/>
          </ac:spMkLst>
        </pc:spChg>
        <pc:spChg chg="mod">
          <ac:chgData name="Chris Gassman (he/him), CSB" userId="255d5b90-e4b1-47f3-87d9-bbdebc731cf9" providerId="ADAL" clId="{A1063716-D93A-4129-9E07-FB1A80FD0C49}" dt="2025-05-23T23:05:03.892" v="421" actId="790"/>
          <ac:spMkLst>
            <pc:docMk/>
            <pc:sldMk cId="3428846195" sldId="462"/>
            <ac:spMk id="18" creationId="{7E5BE5C9-11A9-F297-81F7-BBC46AC80B44}"/>
          </ac:spMkLst>
        </pc:spChg>
        <pc:spChg chg="mod">
          <ac:chgData name="Chris Gassman (he/him), CSB" userId="255d5b90-e4b1-47f3-87d9-bbdebc731cf9" providerId="ADAL" clId="{A1063716-D93A-4129-9E07-FB1A80FD0C49}" dt="2025-05-23T23:05:03.892" v="421" actId="790"/>
          <ac:spMkLst>
            <pc:docMk/>
            <pc:sldMk cId="3428846195" sldId="462"/>
            <ac:spMk id="20" creationId="{69A4025D-CF66-83E8-283E-025C69F79C64}"/>
          </ac:spMkLst>
        </pc:spChg>
        <pc:graphicFrameChg chg="add mod">
          <ac:chgData name="Chris Gassman (he/him), CSB" userId="255d5b90-e4b1-47f3-87d9-bbdebc731cf9" providerId="ADAL" clId="{A1063716-D93A-4129-9E07-FB1A80FD0C49}" dt="2025-05-23T22:43:12.323" v="302" actId="207"/>
          <ac:graphicFrameMkLst>
            <pc:docMk/>
            <pc:sldMk cId="3428846195" sldId="462"/>
            <ac:graphicFrameMk id="2" creationId="{B7DAAAA8-8F46-C4CF-7E26-F36A2F921C42}"/>
          </ac:graphicFrameMkLst>
        </pc:graphicFrameChg>
        <pc:picChg chg="add mod">
          <ac:chgData name="Chris Gassman (he/him), CSB" userId="255d5b90-e4b1-47f3-87d9-bbdebc731cf9" providerId="ADAL" clId="{A1063716-D93A-4129-9E07-FB1A80FD0C49}" dt="2025-05-24T01:47:43.535" v="560"/>
          <ac:picMkLst>
            <pc:docMk/>
            <pc:sldMk cId="3428846195" sldId="462"/>
            <ac:picMk id="3" creationId="{CD8B09CD-D449-28D4-F91B-2A915EED9F9F}"/>
          </ac:picMkLst>
        </pc:picChg>
      </pc:sldChg>
      <pc:sldChg chg="addSp delSp modSp mod modAnim">
        <pc:chgData name="Chris Gassman (he/him), CSB" userId="255d5b90-e4b1-47f3-87d9-bbdebc731cf9" providerId="ADAL" clId="{A1063716-D93A-4129-9E07-FB1A80FD0C49}" dt="2025-05-24T01:53:19.548" v="608"/>
        <pc:sldMkLst>
          <pc:docMk/>
          <pc:sldMk cId="264711554" sldId="463"/>
        </pc:sldMkLst>
        <pc:spChg chg="mod">
          <ac:chgData name="Chris Gassman (he/him), CSB" userId="255d5b90-e4b1-47f3-87d9-bbdebc731cf9" providerId="ADAL" clId="{A1063716-D93A-4129-9E07-FB1A80FD0C49}" dt="2025-05-23T23:05:03.892" v="421" actId="790"/>
          <ac:spMkLst>
            <pc:docMk/>
            <pc:sldMk cId="264711554" sldId="463"/>
            <ac:spMk id="6" creationId="{579525A3-BF39-2FEA-D897-75A3C8C974CF}"/>
          </ac:spMkLst>
        </pc:spChg>
        <pc:spChg chg="mod">
          <ac:chgData name="Chris Gassman (he/him), CSB" userId="255d5b90-e4b1-47f3-87d9-bbdebc731cf9" providerId="ADAL" clId="{A1063716-D93A-4129-9E07-FB1A80FD0C49}" dt="2025-05-23T22:24:33.547" v="239" actId="20577"/>
          <ac:spMkLst>
            <pc:docMk/>
            <pc:sldMk cId="264711554" sldId="463"/>
            <ac:spMk id="11" creationId="{8D6EDBFF-927E-62DC-1BBA-1496B88F0BF1}"/>
          </ac:spMkLst>
        </pc:spChg>
        <pc:spChg chg="mod">
          <ac:chgData name="Chris Gassman (he/him), CSB" userId="255d5b90-e4b1-47f3-87d9-bbdebc731cf9" providerId="ADAL" clId="{A1063716-D93A-4129-9E07-FB1A80FD0C49}" dt="2025-05-23T23:05:03.892" v="421" actId="790"/>
          <ac:spMkLst>
            <pc:docMk/>
            <pc:sldMk cId="264711554" sldId="463"/>
            <ac:spMk id="20" creationId="{4119AB1E-261A-B9CF-E538-7222FDA2D4A9}"/>
          </ac:spMkLst>
        </pc:spChg>
        <pc:spChg chg="mod">
          <ac:chgData name="Chris Gassman (he/him), CSB" userId="255d5b90-e4b1-47f3-87d9-bbdebc731cf9" providerId="ADAL" clId="{A1063716-D93A-4129-9E07-FB1A80FD0C49}" dt="2025-05-23T23:05:03.892" v="421" actId="790"/>
          <ac:spMkLst>
            <pc:docMk/>
            <pc:sldMk cId="264711554" sldId="463"/>
            <ac:spMk id="21" creationId="{7656D655-3BC7-D83C-C566-648617E1EB98}"/>
          </ac:spMkLst>
        </pc:spChg>
        <pc:spChg chg="mod">
          <ac:chgData name="Chris Gassman (he/him), CSB" userId="255d5b90-e4b1-47f3-87d9-bbdebc731cf9" providerId="ADAL" clId="{A1063716-D93A-4129-9E07-FB1A80FD0C49}" dt="2025-05-23T23:05:03.892" v="421" actId="790"/>
          <ac:spMkLst>
            <pc:docMk/>
            <pc:sldMk cId="264711554" sldId="463"/>
            <ac:spMk id="24" creationId="{A57589D9-5415-27C3-C986-AB1F2762BC79}"/>
          </ac:spMkLst>
        </pc:spChg>
        <pc:spChg chg="mod">
          <ac:chgData name="Chris Gassman (he/him), CSB" userId="255d5b90-e4b1-47f3-87d9-bbdebc731cf9" providerId="ADAL" clId="{A1063716-D93A-4129-9E07-FB1A80FD0C49}" dt="2025-05-23T23:05:03.892" v="421" actId="790"/>
          <ac:spMkLst>
            <pc:docMk/>
            <pc:sldMk cId="264711554" sldId="463"/>
            <ac:spMk id="27" creationId="{453FCB22-2D4E-922F-880C-7632609429FE}"/>
          </ac:spMkLst>
        </pc:spChg>
        <pc:spChg chg="mod">
          <ac:chgData name="Chris Gassman (he/him), CSB" userId="255d5b90-e4b1-47f3-87d9-bbdebc731cf9" providerId="ADAL" clId="{A1063716-D93A-4129-9E07-FB1A80FD0C49}" dt="2025-05-23T23:05:03.892" v="421" actId="790"/>
          <ac:spMkLst>
            <pc:docMk/>
            <pc:sldMk cId="264711554" sldId="463"/>
            <ac:spMk id="28" creationId="{5442BBED-EDA4-49F8-201A-38AAED15D0BF}"/>
          </ac:spMkLst>
        </pc:spChg>
        <pc:spChg chg="mod">
          <ac:chgData name="Chris Gassman (he/him), CSB" userId="255d5b90-e4b1-47f3-87d9-bbdebc731cf9" providerId="ADAL" clId="{A1063716-D93A-4129-9E07-FB1A80FD0C49}" dt="2025-05-23T23:05:03.892" v="421" actId="790"/>
          <ac:spMkLst>
            <pc:docMk/>
            <pc:sldMk cId="264711554" sldId="463"/>
            <ac:spMk id="29" creationId="{5FE0FC7A-9B06-07F5-C2FD-03B9B161B8A0}"/>
          </ac:spMkLst>
        </pc:spChg>
        <pc:spChg chg="mod">
          <ac:chgData name="Chris Gassman (he/him), CSB" userId="255d5b90-e4b1-47f3-87d9-bbdebc731cf9" providerId="ADAL" clId="{A1063716-D93A-4129-9E07-FB1A80FD0C49}" dt="2025-05-23T23:05:03.892" v="421" actId="790"/>
          <ac:spMkLst>
            <pc:docMk/>
            <pc:sldMk cId="264711554" sldId="463"/>
            <ac:spMk id="33" creationId="{5162F7F7-2C19-8131-7D1B-2BBD402AFF56}"/>
          </ac:spMkLst>
        </pc:spChg>
        <pc:spChg chg="mod">
          <ac:chgData name="Chris Gassman (he/him), CSB" userId="255d5b90-e4b1-47f3-87d9-bbdebc731cf9" providerId="ADAL" clId="{A1063716-D93A-4129-9E07-FB1A80FD0C49}" dt="2025-05-23T23:05:03.892" v="421" actId="790"/>
          <ac:spMkLst>
            <pc:docMk/>
            <pc:sldMk cId="264711554" sldId="463"/>
            <ac:spMk id="34" creationId="{0C2BC353-CC98-C4CD-992F-28E2388DE8D4}"/>
          </ac:spMkLst>
        </pc:spChg>
        <pc:spChg chg="mod">
          <ac:chgData name="Chris Gassman (he/him), CSB" userId="255d5b90-e4b1-47f3-87d9-bbdebc731cf9" providerId="ADAL" clId="{A1063716-D93A-4129-9E07-FB1A80FD0C49}" dt="2025-05-23T23:05:03.892" v="421" actId="790"/>
          <ac:spMkLst>
            <pc:docMk/>
            <pc:sldMk cId="264711554" sldId="463"/>
            <ac:spMk id="36" creationId="{F82912F7-EE1F-3C01-70D7-3DFAEF12E71A}"/>
          </ac:spMkLst>
        </pc:spChg>
        <pc:picChg chg="add mod">
          <ac:chgData name="Chris Gassman (he/him), CSB" userId="255d5b90-e4b1-47f3-87d9-bbdebc731cf9" providerId="ADAL" clId="{A1063716-D93A-4129-9E07-FB1A80FD0C49}" dt="2025-05-24T01:47:49.069" v="562"/>
          <ac:picMkLst>
            <pc:docMk/>
            <pc:sldMk cId="264711554" sldId="463"/>
            <ac:picMk id="2" creationId="{1754ABEB-C2F7-9BDB-70FB-F7C21489598E}"/>
          </ac:picMkLst>
        </pc:picChg>
      </pc:sldChg>
      <pc:sldChg chg="addSp delSp modSp mod">
        <pc:chgData name="Chris Gassman (he/him), CSB" userId="255d5b90-e4b1-47f3-87d9-bbdebc731cf9" providerId="ADAL" clId="{A1063716-D93A-4129-9E07-FB1A80FD0C49}" dt="2025-05-24T01:49:13.745" v="589"/>
        <pc:sldMkLst>
          <pc:docMk/>
          <pc:sldMk cId="1700624718" sldId="464"/>
        </pc:sldMkLst>
      </pc:sldChg>
      <pc:sldChg chg="modSp mod">
        <pc:chgData name="Chris Gassman (he/him), CSB" userId="255d5b90-e4b1-47f3-87d9-bbdebc731cf9" providerId="ADAL" clId="{A1063716-D93A-4129-9E07-FB1A80FD0C49}" dt="2025-05-23T23:05:03.892" v="421" actId="790"/>
        <pc:sldMkLst>
          <pc:docMk/>
          <pc:sldMk cId="3355028918" sldId="465"/>
        </pc:sldMkLst>
        <pc:spChg chg="mod">
          <ac:chgData name="Chris Gassman (he/him), CSB" userId="255d5b90-e4b1-47f3-87d9-bbdebc731cf9" providerId="ADAL" clId="{A1063716-D93A-4129-9E07-FB1A80FD0C49}" dt="2025-05-23T23:05:03.892" v="421" actId="790"/>
          <ac:spMkLst>
            <pc:docMk/>
            <pc:sldMk cId="3355028918" sldId="465"/>
            <ac:spMk id="2" creationId="{64D9C46E-F4CB-704A-E055-9F23131D8429}"/>
          </ac:spMkLst>
        </pc:spChg>
        <pc:spChg chg="mod">
          <ac:chgData name="Chris Gassman (he/him), CSB" userId="255d5b90-e4b1-47f3-87d9-bbdebc731cf9" providerId="ADAL" clId="{A1063716-D93A-4129-9E07-FB1A80FD0C49}" dt="2025-05-23T23:05:03.892" v="421" actId="790"/>
          <ac:spMkLst>
            <pc:docMk/>
            <pc:sldMk cId="3355028918" sldId="465"/>
            <ac:spMk id="3" creationId="{A29D2098-315F-0DEB-ED53-71B67101A661}"/>
          </ac:spMkLst>
        </pc:spChg>
      </pc:sldChg>
      <pc:sldChg chg="addSp delSp modSp mod modAnim">
        <pc:chgData name="Chris Gassman (he/him), CSB" userId="255d5b90-e4b1-47f3-87d9-bbdebc731cf9" providerId="ADAL" clId="{A1063716-D93A-4129-9E07-FB1A80FD0C49}" dt="2025-05-24T01:54:03.994" v="612"/>
        <pc:sldMkLst>
          <pc:docMk/>
          <pc:sldMk cId="713803412" sldId="468"/>
        </pc:sldMkLst>
        <pc:spChg chg="mod">
          <ac:chgData name="Chris Gassman (he/him), CSB" userId="255d5b90-e4b1-47f3-87d9-bbdebc731cf9" providerId="ADAL" clId="{A1063716-D93A-4129-9E07-FB1A80FD0C49}" dt="2025-05-23T23:05:03.892" v="421" actId="790"/>
          <ac:spMkLst>
            <pc:docMk/>
            <pc:sldMk cId="713803412" sldId="468"/>
            <ac:spMk id="2" creationId="{4ECECA12-84E1-342D-F2E4-FF275B4B8A0A}"/>
          </ac:spMkLst>
        </pc:spChg>
        <pc:spChg chg="mod">
          <ac:chgData name="Chris Gassman (he/him), CSB" userId="255d5b90-e4b1-47f3-87d9-bbdebc731cf9" providerId="ADAL" clId="{A1063716-D93A-4129-9E07-FB1A80FD0C49}" dt="2025-05-23T23:05:03.892" v="421" actId="790"/>
          <ac:spMkLst>
            <pc:docMk/>
            <pc:sldMk cId="713803412" sldId="468"/>
            <ac:spMk id="6" creationId="{36BE7132-0299-6D0C-7022-A1052461F71C}"/>
          </ac:spMkLst>
        </pc:spChg>
        <pc:spChg chg="mod">
          <ac:chgData name="Chris Gassman (he/him), CSB" userId="255d5b90-e4b1-47f3-87d9-bbdebc731cf9" providerId="ADAL" clId="{A1063716-D93A-4129-9E07-FB1A80FD0C49}" dt="2025-05-23T23:05:03.892" v="421" actId="790"/>
          <ac:spMkLst>
            <pc:docMk/>
            <pc:sldMk cId="713803412" sldId="468"/>
            <ac:spMk id="10" creationId="{94A78CD3-E969-686E-C7C0-6467D2DF1DE8}"/>
          </ac:spMkLst>
        </pc:spChg>
        <pc:spChg chg="mod">
          <ac:chgData name="Chris Gassman (he/him), CSB" userId="255d5b90-e4b1-47f3-87d9-bbdebc731cf9" providerId="ADAL" clId="{A1063716-D93A-4129-9E07-FB1A80FD0C49}" dt="2025-05-23T21:59:15.962" v="233" actId="20577"/>
          <ac:spMkLst>
            <pc:docMk/>
            <pc:sldMk cId="713803412" sldId="468"/>
            <ac:spMk id="11" creationId="{C6CECB3B-37C2-5C6B-A219-738A363C36FF}"/>
          </ac:spMkLst>
        </pc:spChg>
        <pc:spChg chg="mod">
          <ac:chgData name="Chris Gassman (he/him), CSB" userId="255d5b90-e4b1-47f3-87d9-bbdebc731cf9" providerId="ADAL" clId="{A1063716-D93A-4129-9E07-FB1A80FD0C49}" dt="2025-05-23T23:05:03.892" v="421" actId="790"/>
          <ac:spMkLst>
            <pc:docMk/>
            <pc:sldMk cId="713803412" sldId="468"/>
            <ac:spMk id="20" creationId="{47C2413B-1626-345F-F558-7FC9715CDE21}"/>
          </ac:spMkLst>
        </pc:spChg>
        <pc:spChg chg="mod">
          <ac:chgData name="Chris Gassman (he/him), CSB" userId="255d5b90-e4b1-47f3-87d9-bbdebc731cf9" providerId="ADAL" clId="{A1063716-D93A-4129-9E07-FB1A80FD0C49}" dt="2025-05-23T23:05:03.892" v="421" actId="790"/>
          <ac:spMkLst>
            <pc:docMk/>
            <pc:sldMk cId="713803412" sldId="468"/>
            <ac:spMk id="21" creationId="{47E7F4EA-48B7-9E65-9DEF-EF1E2AD1E806}"/>
          </ac:spMkLst>
        </pc:spChg>
        <pc:spChg chg="mod">
          <ac:chgData name="Chris Gassman (he/him), CSB" userId="255d5b90-e4b1-47f3-87d9-bbdebc731cf9" providerId="ADAL" clId="{A1063716-D93A-4129-9E07-FB1A80FD0C49}" dt="2025-05-23T23:05:03.892" v="421" actId="790"/>
          <ac:spMkLst>
            <pc:docMk/>
            <pc:sldMk cId="713803412" sldId="468"/>
            <ac:spMk id="22" creationId="{9F46321E-9890-4515-6FFB-C937B940934D}"/>
          </ac:spMkLst>
        </pc:spChg>
        <pc:spChg chg="mod">
          <ac:chgData name="Chris Gassman (he/him), CSB" userId="255d5b90-e4b1-47f3-87d9-bbdebc731cf9" providerId="ADAL" clId="{A1063716-D93A-4129-9E07-FB1A80FD0C49}" dt="2025-05-23T23:05:03.892" v="421" actId="790"/>
          <ac:spMkLst>
            <pc:docMk/>
            <pc:sldMk cId="713803412" sldId="468"/>
            <ac:spMk id="27" creationId="{55DB5BEA-9323-727D-0423-087010FEACC3}"/>
          </ac:spMkLst>
        </pc:spChg>
        <pc:spChg chg="mod">
          <ac:chgData name="Chris Gassman (he/him), CSB" userId="255d5b90-e4b1-47f3-87d9-bbdebc731cf9" providerId="ADAL" clId="{A1063716-D93A-4129-9E07-FB1A80FD0C49}" dt="2025-05-23T23:05:03.892" v="421" actId="790"/>
          <ac:spMkLst>
            <pc:docMk/>
            <pc:sldMk cId="713803412" sldId="468"/>
            <ac:spMk id="28" creationId="{9B47481B-47CA-6C76-8414-3B0E01B3B2BA}"/>
          </ac:spMkLst>
        </pc:spChg>
        <pc:spChg chg="mod">
          <ac:chgData name="Chris Gassman (he/him), CSB" userId="255d5b90-e4b1-47f3-87d9-bbdebc731cf9" providerId="ADAL" clId="{A1063716-D93A-4129-9E07-FB1A80FD0C49}" dt="2025-05-23T23:05:03.892" v="421" actId="790"/>
          <ac:spMkLst>
            <pc:docMk/>
            <pc:sldMk cId="713803412" sldId="468"/>
            <ac:spMk id="30" creationId="{B14A95A3-792C-5182-CCE1-79FBAE78E9E6}"/>
          </ac:spMkLst>
        </pc:spChg>
        <pc:spChg chg="mod">
          <ac:chgData name="Chris Gassman (he/him), CSB" userId="255d5b90-e4b1-47f3-87d9-bbdebc731cf9" providerId="ADAL" clId="{A1063716-D93A-4129-9E07-FB1A80FD0C49}" dt="2025-05-23T23:05:03.892" v="421" actId="790"/>
          <ac:spMkLst>
            <pc:docMk/>
            <pc:sldMk cId="713803412" sldId="468"/>
            <ac:spMk id="34" creationId="{0649F389-E2E2-444E-519A-643CD3D8B5E8}"/>
          </ac:spMkLst>
        </pc:spChg>
        <pc:picChg chg="add mod">
          <ac:chgData name="Chris Gassman (he/him), CSB" userId="255d5b90-e4b1-47f3-87d9-bbdebc731cf9" providerId="ADAL" clId="{A1063716-D93A-4129-9E07-FB1A80FD0C49}" dt="2025-05-24T01:47:53.997" v="564"/>
          <ac:picMkLst>
            <pc:docMk/>
            <pc:sldMk cId="713803412" sldId="468"/>
            <ac:picMk id="7" creationId="{A40C5D85-027F-2151-CA1D-92BBC3C373CF}"/>
          </ac:picMkLst>
        </pc:picChg>
      </pc:sldChg>
      <pc:sldChg chg="addSp delSp modSp mod modAnim">
        <pc:chgData name="Chris Gassman (he/him), CSB" userId="255d5b90-e4b1-47f3-87d9-bbdebc731cf9" providerId="ADAL" clId="{A1063716-D93A-4129-9E07-FB1A80FD0C49}" dt="2025-05-24T01:55:01.745" v="619"/>
        <pc:sldMkLst>
          <pc:docMk/>
          <pc:sldMk cId="144562284" sldId="469"/>
        </pc:sldMkLst>
        <pc:spChg chg="mod">
          <ac:chgData name="Chris Gassman (he/him), CSB" userId="255d5b90-e4b1-47f3-87d9-bbdebc731cf9" providerId="ADAL" clId="{A1063716-D93A-4129-9E07-FB1A80FD0C49}" dt="2025-05-23T23:05:03.892" v="421" actId="790"/>
          <ac:spMkLst>
            <pc:docMk/>
            <pc:sldMk cId="144562284" sldId="469"/>
            <ac:spMk id="5" creationId="{0E238377-17F9-442E-DC8D-47924277C403}"/>
          </ac:spMkLst>
        </pc:spChg>
        <pc:spChg chg="mod">
          <ac:chgData name="Chris Gassman (he/him), CSB" userId="255d5b90-e4b1-47f3-87d9-bbdebc731cf9" providerId="ADAL" clId="{A1063716-D93A-4129-9E07-FB1A80FD0C49}" dt="2025-05-23T23:05:03.892" v="421" actId="790"/>
          <ac:spMkLst>
            <pc:docMk/>
            <pc:sldMk cId="144562284" sldId="469"/>
            <ac:spMk id="7" creationId="{B64BAD3B-079C-A4A5-ECC2-6D705F6C9F60}"/>
          </ac:spMkLst>
        </pc:spChg>
        <pc:spChg chg="mod">
          <ac:chgData name="Chris Gassman (he/him), CSB" userId="255d5b90-e4b1-47f3-87d9-bbdebc731cf9" providerId="ADAL" clId="{A1063716-D93A-4129-9E07-FB1A80FD0C49}" dt="2025-05-23T23:05:03.892" v="421" actId="790"/>
          <ac:spMkLst>
            <pc:docMk/>
            <pc:sldMk cId="144562284" sldId="469"/>
            <ac:spMk id="18" creationId="{91EADCB6-7738-AD3E-AF3F-47DC3919F8D9}"/>
          </ac:spMkLst>
        </pc:spChg>
        <pc:spChg chg="mod">
          <ac:chgData name="Chris Gassman (he/him), CSB" userId="255d5b90-e4b1-47f3-87d9-bbdebc731cf9" providerId="ADAL" clId="{A1063716-D93A-4129-9E07-FB1A80FD0C49}" dt="2025-05-23T23:05:03.892" v="421" actId="790"/>
          <ac:spMkLst>
            <pc:docMk/>
            <pc:sldMk cId="144562284" sldId="469"/>
            <ac:spMk id="19" creationId="{6D906074-CA93-0593-A2C0-282664A6F53C}"/>
          </ac:spMkLst>
        </pc:spChg>
        <pc:spChg chg="mod">
          <ac:chgData name="Chris Gassman (he/him), CSB" userId="255d5b90-e4b1-47f3-87d9-bbdebc731cf9" providerId="ADAL" clId="{A1063716-D93A-4129-9E07-FB1A80FD0C49}" dt="2025-05-23T23:05:03.892" v="421" actId="790"/>
          <ac:spMkLst>
            <pc:docMk/>
            <pc:sldMk cId="144562284" sldId="469"/>
            <ac:spMk id="26" creationId="{10CBDADC-AC14-3231-F650-704220291FE0}"/>
          </ac:spMkLst>
        </pc:spChg>
        <pc:spChg chg="mod">
          <ac:chgData name="Chris Gassman (he/him), CSB" userId="255d5b90-e4b1-47f3-87d9-bbdebc731cf9" providerId="ADAL" clId="{A1063716-D93A-4129-9E07-FB1A80FD0C49}" dt="2025-05-23T23:05:03.892" v="421" actId="790"/>
          <ac:spMkLst>
            <pc:docMk/>
            <pc:sldMk cId="144562284" sldId="469"/>
            <ac:spMk id="28" creationId="{05C74383-8A16-D14C-6089-52FDB5B8C368}"/>
          </ac:spMkLst>
        </pc:spChg>
        <pc:spChg chg="mod">
          <ac:chgData name="Chris Gassman (he/him), CSB" userId="255d5b90-e4b1-47f3-87d9-bbdebc731cf9" providerId="ADAL" clId="{A1063716-D93A-4129-9E07-FB1A80FD0C49}" dt="2025-05-23T23:05:03.892" v="421" actId="790"/>
          <ac:spMkLst>
            <pc:docMk/>
            <pc:sldMk cId="144562284" sldId="469"/>
            <ac:spMk id="29" creationId="{0BDE2E58-AD4C-2CD4-AA8E-D6E9622AA0AA}"/>
          </ac:spMkLst>
        </pc:spChg>
        <pc:spChg chg="mod">
          <ac:chgData name="Chris Gassman (he/him), CSB" userId="255d5b90-e4b1-47f3-87d9-bbdebc731cf9" providerId="ADAL" clId="{A1063716-D93A-4129-9E07-FB1A80FD0C49}" dt="2025-05-23T23:05:03.892" v="421" actId="790"/>
          <ac:spMkLst>
            <pc:docMk/>
            <pc:sldMk cId="144562284" sldId="469"/>
            <ac:spMk id="61" creationId="{520CF40D-5E49-EC94-547B-5A3FD2FD4149}"/>
          </ac:spMkLst>
        </pc:spChg>
        <pc:spChg chg="mod">
          <ac:chgData name="Chris Gassman (he/him), CSB" userId="255d5b90-e4b1-47f3-87d9-bbdebc731cf9" providerId="ADAL" clId="{A1063716-D93A-4129-9E07-FB1A80FD0C49}" dt="2025-05-23T23:05:03.892" v="421" actId="790"/>
          <ac:spMkLst>
            <pc:docMk/>
            <pc:sldMk cId="144562284" sldId="469"/>
            <ac:spMk id="62" creationId="{951F2255-6125-EA93-F3B4-74A6F6065C39}"/>
          </ac:spMkLst>
        </pc:spChg>
        <pc:spChg chg="mod">
          <ac:chgData name="Chris Gassman (he/him), CSB" userId="255d5b90-e4b1-47f3-87d9-bbdebc731cf9" providerId="ADAL" clId="{A1063716-D93A-4129-9E07-FB1A80FD0C49}" dt="2025-05-23T23:05:03.892" v="421" actId="790"/>
          <ac:spMkLst>
            <pc:docMk/>
            <pc:sldMk cId="144562284" sldId="469"/>
            <ac:spMk id="74" creationId="{A8B808EF-CC10-8170-B745-2DCC677D8587}"/>
          </ac:spMkLst>
        </pc:spChg>
        <pc:spChg chg="mod">
          <ac:chgData name="Chris Gassman (he/him), CSB" userId="255d5b90-e4b1-47f3-87d9-bbdebc731cf9" providerId="ADAL" clId="{A1063716-D93A-4129-9E07-FB1A80FD0C49}" dt="2025-05-23T22:36:23.191" v="282" actId="20577"/>
          <ac:spMkLst>
            <pc:docMk/>
            <pc:sldMk cId="144562284" sldId="469"/>
            <ac:spMk id="83" creationId="{310AB517-4B38-6C61-47AB-FFA3800753C9}"/>
          </ac:spMkLst>
        </pc:spChg>
        <pc:graphicFrameChg chg="add mod">
          <ac:chgData name="Chris Gassman (he/him), CSB" userId="255d5b90-e4b1-47f3-87d9-bbdebc731cf9" providerId="ADAL" clId="{A1063716-D93A-4129-9E07-FB1A80FD0C49}" dt="2025-05-23T22:44:50.744" v="320" actId="207"/>
          <ac:graphicFrameMkLst>
            <pc:docMk/>
            <pc:sldMk cId="144562284" sldId="469"/>
            <ac:graphicFrameMk id="13" creationId="{D59ECC49-5A7C-516E-F415-9986DACC94B5}"/>
          </ac:graphicFrameMkLst>
        </pc:graphicFrameChg>
        <pc:picChg chg="add mod">
          <ac:chgData name="Chris Gassman (he/him), CSB" userId="255d5b90-e4b1-47f3-87d9-bbdebc731cf9" providerId="ADAL" clId="{A1063716-D93A-4129-9E07-FB1A80FD0C49}" dt="2025-05-24T01:47:59.133" v="566"/>
          <ac:picMkLst>
            <pc:docMk/>
            <pc:sldMk cId="144562284" sldId="469"/>
            <ac:picMk id="14" creationId="{D15372AB-EBD3-979B-2BA0-32AB72546BA3}"/>
          </ac:picMkLst>
        </pc:picChg>
      </pc:sldChg>
      <pc:sldChg chg="modSp mod">
        <pc:chgData name="Chris Gassman (he/him), CSB" userId="255d5b90-e4b1-47f3-87d9-bbdebc731cf9" providerId="ADAL" clId="{A1063716-D93A-4129-9E07-FB1A80FD0C49}" dt="2025-05-23T23:05:03.892" v="421" actId="790"/>
        <pc:sldMkLst>
          <pc:docMk/>
          <pc:sldMk cId="1057063938" sldId="470"/>
        </pc:sldMkLst>
        <pc:spChg chg="mod">
          <ac:chgData name="Chris Gassman (he/him), CSB" userId="255d5b90-e4b1-47f3-87d9-bbdebc731cf9" providerId="ADAL" clId="{A1063716-D93A-4129-9E07-FB1A80FD0C49}" dt="2025-05-23T23:05:03.892" v="421" actId="790"/>
          <ac:spMkLst>
            <pc:docMk/>
            <pc:sldMk cId="1057063938" sldId="470"/>
            <ac:spMk id="5" creationId="{2B967D11-0B8A-9EA4-5299-FA79C2FD70BD}"/>
          </ac:spMkLst>
        </pc:spChg>
        <pc:spChg chg="mod">
          <ac:chgData name="Chris Gassman (he/him), CSB" userId="255d5b90-e4b1-47f3-87d9-bbdebc731cf9" providerId="ADAL" clId="{A1063716-D93A-4129-9E07-FB1A80FD0C49}" dt="2025-05-23T23:05:03.892" v="421" actId="790"/>
          <ac:spMkLst>
            <pc:docMk/>
            <pc:sldMk cId="1057063938" sldId="470"/>
            <ac:spMk id="6" creationId="{E3B7B9BD-0904-86D9-2189-5E615C83F81E}"/>
          </ac:spMkLst>
        </pc:spChg>
        <pc:spChg chg="mod">
          <ac:chgData name="Chris Gassman (he/him), CSB" userId="255d5b90-e4b1-47f3-87d9-bbdebc731cf9" providerId="ADAL" clId="{A1063716-D93A-4129-9E07-FB1A80FD0C49}" dt="2025-05-23T23:05:03.892" v="421" actId="790"/>
          <ac:spMkLst>
            <pc:docMk/>
            <pc:sldMk cId="1057063938" sldId="470"/>
            <ac:spMk id="13" creationId="{23AD5F02-AEB5-37F0-97ED-7D3139EDB034}"/>
          </ac:spMkLst>
        </pc:spChg>
        <pc:spChg chg="mod">
          <ac:chgData name="Chris Gassman (he/him), CSB" userId="255d5b90-e4b1-47f3-87d9-bbdebc731cf9" providerId="ADAL" clId="{A1063716-D93A-4129-9E07-FB1A80FD0C49}" dt="2025-05-23T23:05:03.892" v="421" actId="790"/>
          <ac:spMkLst>
            <pc:docMk/>
            <pc:sldMk cId="1057063938" sldId="470"/>
            <ac:spMk id="16" creationId="{B79F34B4-BF68-FA81-8999-06728AB9BF09}"/>
          </ac:spMkLst>
        </pc:spChg>
        <pc:spChg chg="mod">
          <ac:chgData name="Chris Gassman (he/him), CSB" userId="255d5b90-e4b1-47f3-87d9-bbdebc731cf9" providerId="ADAL" clId="{A1063716-D93A-4129-9E07-FB1A80FD0C49}" dt="2025-05-23T23:05:03.892" v="421" actId="790"/>
          <ac:spMkLst>
            <pc:docMk/>
            <pc:sldMk cId="1057063938" sldId="470"/>
            <ac:spMk id="19" creationId="{3A9F5127-6CC0-8461-B50A-451CFC7F5F53}"/>
          </ac:spMkLst>
        </pc:spChg>
      </pc:sldChg>
      <pc:sldChg chg="addSp delSp modSp mod">
        <pc:chgData name="Chris Gassman (he/him), CSB" userId="255d5b90-e4b1-47f3-87d9-bbdebc731cf9" providerId="ADAL" clId="{A1063716-D93A-4129-9E07-FB1A80FD0C49}" dt="2025-05-24T01:48:04.274" v="568"/>
        <pc:sldMkLst>
          <pc:docMk/>
          <pc:sldMk cId="3920620697" sldId="472"/>
        </pc:sldMkLst>
        <pc:spChg chg="mod">
          <ac:chgData name="Chris Gassman (he/him), CSB" userId="255d5b90-e4b1-47f3-87d9-bbdebc731cf9" providerId="ADAL" clId="{A1063716-D93A-4129-9E07-FB1A80FD0C49}" dt="2025-05-23T23:05:03.892" v="421" actId="790"/>
          <ac:spMkLst>
            <pc:docMk/>
            <pc:sldMk cId="3920620697" sldId="472"/>
            <ac:spMk id="5" creationId="{573BC6DE-5496-7729-1412-058ED6651B45}"/>
          </ac:spMkLst>
        </pc:spChg>
        <pc:spChg chg="mod">
          <ac:chgData name="Chris Gassman (he/him), CSB" userId="255d5b90-e4b1-47f3-87d9-bbdebc731cf9" providerId="ADAL" clId="{A1063716-D93A-4129-9E07-FB1A80FD0C49}" dt="2025-05-23T23:05:03.892" v="421" actId="790"/>
          <ac:spMkLst>
            <pc:docMk/>
            <pc:sldMk cId="3920620697" sldId="472"/>
            <ac:spMk id="6" creationId="{1E359B0A-3C24-A627-D837-4F618A4070D3}"/>
          </ac:spMkLst>
        </pc:spChg>
        <pc:spChg chg="mod">
          <ac:chgData name="Chris Gassman (he/him), CSB" userId="255d5b90-e4b1-47f3-87d9-bbdebc731cf9" providerId="ADAL" clId="{A1063716-D93A-4129-9E07-FB1A80FD0C49}" dt="2025-05-23T23:05:03.892" v="421" actId="790"/>
          <ac:spMkLst>
            <pc:docMk/>
            <pc:sldMk cId="3920620697" sldId="472"/>
            <ac:spMk id="13" creationId="{B95BA8DC-F620-F34E-8130-09F80FAA4059}"/>
          </ac:spMkLst>
        </pc:spChg>
        <pc:spChg chg="mod">
          <ac:chgData name="Chris Gassman (he/him), CSB" userId="255d5b90-e4b1-47f3-87d9-bbdebc731cf9" providerId="ADAL" clId="{A1063716-D93A-4129-9E07-FB1A80FD0C49}" dt="2025-05-23T23:05:03.892" v="421" actId="790"/>
          <ac:spMkLst>
            <pc:docMk/>
            <pc:sldMk cId="3920620697" sldId="472"/>
            <ac:spMk id="16" creationId="{BA4A6FEE-46DC-0277-62DD-1FDEABC01A55}"/>
          </ac:spMkLst>
        </pc:spChg>
        <pc:spChg chg="mod">
          <ac:chgData name="Chris Gassman (he/him), CSB" userId="255d5b90-e4b1-47f3-87d9-bbdebc731cf9" providerId="ADAL" clId="{A1063716-D93A-4129-9E07-FB1A80FD0C49}" dt="2025-05-23T23:05:03.892" v="421" actId="790"/>
          <ac:spMkLst>
            <pc:docMk/>
            <pc:sldMk cId="3920620697" sldId="472"/>
            <ac:spMk id="19" creationId="{99FA6B1B-2E0E-A257-0F43-809478B5DFE3}"/>
          </ac:spMkLst>
        </pc:spChg>
        <pc:picChg chg="add mod">
          <ac:chgData name="Chris Gassman (he/him), CSB" userId="255d5b90-e4b1-47f3-87d9-bbdebc731cf9" providerId="ADAL" clId="{A1063716-D93A-4129-9E07-FB1A80FD0C49}" dt="2025-05-24T01:48:04.274" v="568"/>
          <ac:picMkLst>
            <pc:docMk/>
            <pc:sldMk cId="3920620697" sldId="472"/>
            <ac:picMk id="2" creationId="{11C23383-9352-1B64-F29E-F7A2F59EE949}"/>
          </ac:picMkLst>
        </pc:picChg>
      </pc:sldChg>
      <pc:sldChg chg="modSp mod">
        <pc:chgData name="Chris Gassman (he/him), CSB" userId="255d5b90-e4b1-47f3-87d9-bbdebc731cf9" providerId="ADAL" clId="{A1063716-D93A-4129-9E07-FB1A80FD0C49}" dt="2025-05-23T23:05:03.892" v="421" actId="790"/>
        <pc:sldMkLst>
          <pc:docMk/>
          <pc:sldMk cId="3616686143" sldId="473"/>
        </pc:sldMkLst>
        <pc:spChg chg="mod">
          <ac:chgData name="Chris Gassman (he/him), CSB" userId="255d5b90-e4b1-47f3-87d9-bbdebc731cf9" providerId="ADAL" clId="{A1063716-D93A-4129-9E07-FB1A80FD0C49}" dt="2025-05-23T23:05:03.892" v="421" actId="790"/>
          <ac:spMkLst>
            <pc:docMk/>
            <pc:sldMk cId="3616686143" sldId="473"/>
            <ac:spMk id="4" creationId="{FBA045B2-91AB-507D-7F52-06A66352EF80}"/>
          </ac:spMkLst>
        </pc:spChg>
      </pc:sldChg>
      <pc:sldChg chg="modSp add del mod modShow">
        <pc:chgData name="Chris Gassman (he/him), CSB" userId="255d5b90-e4b1-47f3-87d9-bbdebc731cf9" providerId="ADAL" clId="{A1063716-D93A-4129-9E07-FB1A80FD0C49}" dt="2025-05-24T01:22:22.737" v="495" actId="47"/>
        <pc:sldMkLst>
          <pc:docMk/>
          <pc:sldMk cId="4073649323" sldId="474"/>
        </pc:sldMkLst>
      </pc:sldChg>
    </pc:docChg>
  </pc:docChgLst>
  <pc:docChgLst>
    <pc:chgData name="Somani, Priyam" userId="S::prs226@pitt.edu::fd9ca880-d0a6-4843-ba37-4bf7454632fe" providerId="AD" clId="Web-{C7912C4D-8A60-C60D-C7FE-BC905E981254}"/>
    <pc:docChg chg="modSld">
      <pc:chgData name="Somani, Priyam" userId="S::prs226@pitt.edu::fd9ca880-d0a6-4843-ba37-4bf7454632fe" providerId="AD" clId="Web-{C7912C4D-8A60-C60D-C7FE-BC905E981254}" dt="2025-05-24T18:41:28.077" v="52" actId="20577"/>
      <pc:docMkLst>
        <pc:docMk/>
      </pc:docMkLst>
      <pc:sldChg chg="addSp delSp modSp">
        <pc:chgData name="Somani, Priyam" userId="S::prs226@pitt.edu::fd9ca880-d0a6-4843-ba37-4bf7454632fe" providerId="AD" clId="Web-{C7912C4D-8A60-C60D-C7FE-BC905E981254}" dt="2025-05-24T18:39:43.241" v="39"/>
        <pc:sldMkLst>
          <pc:docMk/>
          <pc:sldMk cId="2734771092" sldId="428"/>
        </pc:sldMkLst>
      </pc:sldChg>
      <pc:sldChg chg="modSp">
        <pc:chgData name="Somani, Priyam" userId="S::prs226@pitt.edu::fd9ca880-d0a6-4843-ba37-4bf7454632fe" providerId="AD" clId="Web-{C7912C4D-8A60-C60D-C7FE-BC905E981254}" dt="2025-05-24T18:38:51.878" v="32" actId="20577"/>
        <pc:sldMkLst>
          <pc:docMk/>
          <pc:sldMk cId="2949998840" sldId="429"/>
        </pc:sldMkLst>
      </pc:sldChg>
      <pc:sldChg chg="modSp">
        <pc:chgData name="Somani, Priyam" userId="S::prs226@pitt.edu::fd9ca880-d0a6-4843-ba37-4bf7454632fe" providerId="AD" clId="Web-{C7912C4D-8A60-C60D-C7FE-BC905E981254}" dt="2025-05-24T18:38:44.112" v="27" actId="20577"/>
        <pc:sldMkLst>
          <pc:docMk/>
          <pc:sldMk cId="4148277725" sldId="430"/>
        </pc:sldMkLst>
      </pc:sldChg>
      <pc:sldChg chg="modSp modCm">
        <pc:chgData name="Somani, Priyam" userId="S::prs226@pitt.edu::fd9ca880-d0a6-4843-ba37-4bf7454632fe" providerId="AD" clId="Web-{C7912C4D-8A60-C60D-C7FE-BC905E981254}" dt="2025-05-24T18:38:33.346" v="14" actId="20577"/>
        <pc:sldMkLst>
          <pc:docMk/>
          <pc:sldMk cId="2530414830" sldId="431"/>
        </pc:sldMkLst>
        <pc:extLst>
          <p:ext xmlns:p="http://schemas.openxmlformats.org/presentationml/2006/main" uri="{D6D511B9-2390-475A-947B-AFAB55BFBCF1}">
            <pc226:cmChg xmlns:pc226="http://schemas.microsoft.com/office/powerpoint/2022/06/main/command" chg="mod">
              <pc226:chgData name="Somani, Priyam" userId="S::prs226@pitt.edu::fd9ca880-d0a6-4843-ba37-4bf7454632fe" providerId="AD" clId="Web-{C7912C4D-8A60-C60D-C7FE-BC905E981254}" dt="2025-05-24T18:38:33.346" v="14" actId="20577"/>
              <pc2:cmMkLst xmlns:pc2="http://schemas.microsoft.com/office/powerpoint/2019/9/main/command">
                <pc:docMk/>
                <pc:sldMk cId="2530414830" sldId="431"/>
                <pc2:cmMk id="{6D3B07B9-25B3-434A-ABD0-54AB5657CFC3}"/>
              </pc2:cmMkLst>
            </pc226:cmChg>
          </p:ext>
        </pc:extLst>
      </pc:sldChg>
      <pc:sldChg chg="modSp">
        <pc:chgData name="Somani, Priyam" userId="S::prs226@pitt.edu::fd9ca880-d0a6-4843-ba37-4bf7454632fe" providerId="AD" clId="Web-{C7912C4D-8A60-C60D-C7FE-BC905E981254}" dt="2025-05-24T18:38:38.205" v="20" actId="20577"/>
        <pc:sldMkLst>
          <pc:docMk/>
          <pc:sldMk cId="2813832334" sldId="433"/>
        </pc:sldMkLst>
      </pc:sldChg>
      <pc:sldChg chg="modSp">
        <pc:chgData name="Somani, Priyam" userId="S::prs226@pitt.edu::fd9ca880-d0a6-4843-ba37-4bf7454632fe" providerId="AD" clId="Web-{C7912C4D-8A60-C60D-C7FE-BC905E981254}" dt="2025-05-24T18:38:23.939" v="5" actId="20577"/>
        <pc:sldMkLst>
          <pc:docMk/>
          <pc:sldMk cId="2195984643" sldId="434"/>
        </pc:sldMkLst>
      </pc:sldChg>
      <pc:sldChg chg="modSp modCm">
        <pc:chgData name="Somani, Priyam" userId="S::prs226@pitt.edu::fd9ca880-d0a6-4843-ba37-4bf7454632fe" providerId="AD" clId="Web-{C7912C4D-8A60-C60D-C7FE-BC905E981254}" dt="2025-05-24T18:41:28.077" v="52" actId="20577"/>
        <pc:sldMkLst>
          <pc:docMk/>
          <pc:sldMk cId="3880380257" sldId="451"/>
        </pc:sldMkLst>
        <pc:spChg chg="mod">
          <ac:chgData name="Somani, Priyam" userId="S::prs226@pitt.edu::fd9ca880-d0a6-4843-ba37-4bf7454632fe" providerId="AD" clId="Web-{C7912C4D-8A60-C60D-C7FE-BC905E981254}" dt="2025-05-24T18:41:28.077" v="52" actId="20577"/>
          <ac:spMkLst>
            <pc:docMk/>
            <pc:sldMk cId="3880380257" sldId="451"/>
            <ac:spMk id="5" creationId="{A39C5115-470F-265F-68A5-2CA0FE9340E5}"/>
          </ac:spMkLst>
        </pc:spChg>
        <pc:extLst>
          <p:ext xmlns:p="http://schemas.openxmlformats.org/presentationml/2006/main" uri="{D6D511B9-2390-475A-947B-AFAB55BFBCF1}">
            <pc226:cmChg xmlns:pc226="http://schemas.microsoft.com/office/powerpoint/2022/06/main/command" chg="mod">
              <pc226:chgData name="Somani, Priyam" userId="S::prs226@pitt.edu::fd9ca880-d0a6-4843-ba37-4bf7454632fe" providerId="AD" clId="Web-{C7912C4D-8A60-C60D-C7FE-BC905E981254}" dt="2025-05-24T18:41:21.201" v="51" actId="20577"/>
              <pc2:cmMkLst xmlns:pc2="http://schemas.microsoft.com/office/powerpoint/2019/9/main/command">
                <pc:docMk/>
                <pc:sldMk cId="3880380257" sldId="451"/>
                <pc2:cmMk id="{D7AF8614-CD0C-49FD-9766-16D28D7D33E0}"/>
              </pc2:cmMkLst>
            </pc226:cmChg>
            <pc226:cmChg xmlns:pc226="http://schemas.microsoft.com/office/powerpoint/2022/06/main/command" chg="mod">
              <pc226:chgData name="Somani, Priyam" userId="S::prs226@pitt.edu::fd9ca880-d0a6-4843-ba37-4bf7454632fe" providerId="AD" clId="Web-{C7912C4D-8A60-C60D-C7FE-BC905E981254}" dt="2025-05-24T18:41:21.201" v="51" actId="20577"/>
              <pc2:cmMkLst xmlns:pc2="http://schemas.microsoft.com/office/powerpoint/2019/9/main/command">
                <pc:docMk/>
                <pc:sldMk cId="3880380257" sldId="451"/>
                <pc2:cmMk id="{B1EC4A76-0134-43DD-A245-DB76AC35EFA3}"/>
              </pc2:cmMkLst>
            </pc226:cmChg>
            <pc226:cmChg xmlns:pc226="http://schemas.microsoft.com/office/powerpoint/2022/06/main/command" chg="mod">
              <pc226:chgData name="Somani, Priyam" userId="S::prs226@pitt.edu::fd9ca880-d0a6-4843-ba37-4bf7454632fe" providerId="AD" clId="Web-{C7912C4D-8A60-C60D-C7FE-BC905E981254}" dt="2025-05-24T18:41:21.201" v="51" actId="20577"/>
              <pc2:cmMkLst xmlns:pc2="http://schemas.microsoft.com/office/powerpoint/2019/9/main/command">
                <pc:docMk/>
                <pc:sldMk cId="3880380257" sldId="451"/>
                <pc2:cmMk id="{E3FAF8DE-5D44-4E00-915F-65CBBE4C6DCA}"/>
              </pc2:cmMkLst>
            </pc226:cmChg>
          </p:ext>
        </pc:extLst>
      </pc:sldChg>
    </pc:docChg>
  </pc:docChgLst>
  <pc:docChgLst>
    <pc:chgData name="Chris Gassman (he/him), CSB" userId="S::cjg125@pitt.edu::255d5b90-e4b1-47f3-87d9-bbdebc731cf9" providerId="AD" clId="Web-{DD9C9FC2-A0C6-9FE6-4E30-206BAA59D9D4}"/>
    <pc:docChg chg="modSld">
      <pc:chgData name="Chris Gassman (he/him), CSB" userId="S::cjg125@pitt.edu::255d5b90-e4b1-47f3-87d9-bbdebc731cf9" providerId="AD" clId="Web-{DD9C9FC2-A0C6-9FE6-4E30-206BAA59D9D4}" dt="2025-05-28T16:06:21.508" v="5"/>
      <pc:docMkLst>
        <pc:docMk/>
      </pc:docMkLst>
      <pc:sldChg chg="modSp">
        <pc:chgData name="Chris Gassman (he/him), CSB" userId="S::cjg125@pitt.edu::255d5b90-e4b1-47f3-87d9-bbdebc731cf9" providerId="AD" clId="Web-{DD9C9FC2-A0C6-9FE6-4E30-206BAA59D9D4}" dt="2025-05-28T04:26:29.491" v="0" actId="20577"/>
        <pc:sldMkLst>
          <pc:docMk/>
          <pc:sldMk cId="835244869" sldId="442"/>
        </pc:sldMkLst>
        <pc:spChg chg="mod">
          <ac:chgData name="Chris Gassman (he/him), CSB" userId="S::cjg125@pitt.edu::255d5b90-e4b1-47f3-87d9-bbdebc731cf9" providerId="AD" clId="Web-{DD9C9FC2-A0C6-9FE6-4E30-206BAA59D9D4}" dt="2025-05-28T04:26:29.491" v="0" actId="20577"/>
          <ac:spMkLst>
            <pc:docMk/>
            <pc:sldMk cId="835244869" sldId="442"/>
            <ac:spMk id="7" creationId="{178E706F-95FF-1C22-C67A-43C0D91FA826}"/>
          </ac:spMkLst>
        </pc:spChg>
      </pc:sldChg>
      <pc:sldChg chg="addSp">
        <pc:chgData name="Chris Gassman (he/him), CSB" userId="S::cjg125@pitt.edu::255d5b90-e4b1-47f3-87d9-bbdebc731cf9" providerId="AD" clId="Web-{DD9C9FC2-A0C6-9FE6-4E30-206BAA59D9D4}" dt="2025-05-28T16:06:21.508" v="5"/>
        <pc:sldMkLst>
          <pc:docMk/>
          <pc:sldMk cId="2203974627" sldId="476"/>
        </pc:sldMkLst>
        <pc:picChg chg="add">
          <ac:chgData name="Chris Gassman (he/him), CSB" userId="S::cjg125@pitt.edu::255d5b90-e4b1-47f3-87d9-bbdebc731cf9" providerId="AD" clId="Web-{DD9C9FC2-A0C6-9FE6-4E30-206BAA59D9D4}" dt="2025-05-28T16:06:21.508" v="5"/>
          <ac:picMkLst>
            <pc:docMk/>
            <pc:sldMk cId="2203974627" sldId="476"/>
            <ac:picMk id="23" creationId="{B846C0EB-D291-AB3E-ED25-14B0F5EEB514}"/>
          </ac:picMkLst>
        </pc:picChg>
      </pc:sldChg>
      <pc:sldChg chg="modSp modAnim">
        <pc:chgData name="Chris Gassman (he/him), CSB" userId="S::cjg125@pitt.edu::255d5b90-e4b1-47f3-87d9-bbdebc731cf9" providerId="AD" clId="Web-{DD9C9FC2-A0C6-9FE6-4E30-206BAA59D9D4}" dt="2025-05-28T04:28:00.700" v="4"/>
        <pc:sldMkLst>
          <pc:docMk/>
          <pc:sldMk cId="3965168504" sldId="477"/>
        </pc:sldMkLst>
        <pc:spChg chg="mod">
          <ac:chgData name="Chris Gassman (he/him), CSB" userId="S::cjg125@pitt.edu::255d5b90-e4b1-47f3-87d9-bbdebc731cf9" providerId="AD" clId="Web-{DD9C9FC2-A0C6-9FE6-4E30-206BAA59D9D4}" dt="2025-05-28T04:26:52.352" v="2" actId="14100"/>
          <ac:spMkLst>
            <pc:docMk/>
            <pc:sldMk cId="3965168504" sldId="477"/>
            <ac:spMk id="4" creationId="{BA229B09-E42E-BFE1-7077-60C0A0B3C837}"/>
          </ac:spMkLst>
        </pc:spChg>
        <pc:picChg chg="ord">
          <ac:chgData name="Chris Gassman (he/him), CSB" userId="S::cjg125@pitt.edu::255d5b90-e4b1-47f3-87d9-bbdebc731cf9" providerId="AD" clId="Web-{DD9C9FC2-A0C6-9FE6-4E30-206BAA59D9D4}" dt="2025-05-28T04:26:47.914" v="1"/>
          <ac:picMkLst>
            <pc:docMk/>
            <pc:sldMk cId="3965168504" sldId="477"/>
            <ac:picMk id="7" creationId="{73F9BCCB-D87A-880D-326B-D4368BF1E86D}"/>
          </ac:picMkLst>
        </pc:picChg>
      </pc:sldChg>
    </pc:docChg>
  </pc:docChgLst>
  <pc:docChgLst>
    <pc:chgData name="Somani, Priyam" userId="S::prs226@pitt.edu::fd9ca880-d0a6-4843-ba37-4bf7454632fe" providerId="AD" clId="Web-{73B00D05-1B65-C639-ED1C-AC9ADAD0BAFF}"/>
    <pc:docChg chg="mod">
      <pc:chgData name="Somani, Priyam" userId="S::prs226@pitt.edu::fd9ca880-d0a6-4843-ba37-4bf7454632fe" providerId="AD" clId="Web-{73B00D05-1B65-C639-ED1C-AC9ADAD0BAFF}" dt="2025-05-27T10:13:01.507" v="0"/>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BC_56A90A1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accent1"/>
                </a:solidFill>
                <a:latin typeface="Arial" panose="020B0604020202020204" pitchFamily="34" charset="0"/>
                <a:ea typeface="+mn-ea"/>
                <a:cs typeface="Arial" panose="020B0604020202020204" pitchFamily="34" charset="0"/>
              </a:defRPr>
            </a:pPr>
            <a:r>
              <a:rPr lang="en-US" b="1" noProof="0">
                <a:solidFill>
                  <a:schemeClr val="accent1"/>
                </a:solidFill>
                <a:latin typeface="Arial" panose="020B0604020202020204" pitchFamily="34" charset="0"/>
                <a:cs typeface="Arial" panose="020B0604020202020204" pitchFamily="34" charset="0"/>
              </a:rPr>
              <a:t>Competitive</a:t>
            </a:r>
            <a:r>
              <a:rPr lang="en-US" b="1" baseline="0" noProof="0">
                <a:solidFill>
                  <a:schemeClr val="accent1"/>
                </a:solidFill>
                <a:latin typeface="Arial" panose="020B0604020202020204" pitchFamily="34" charset="0"/>
                <a:cs typeface="Arial" panose="020B0604020202020204" pitchFamily="34" charset="0"/>
              </a:rPr>
              <a:t> Rate Analysis: Utility Companies</a:t>
            </a:r>
            <a:endParaRPr lang="en-US" b="1" noProof="0">
              <a:solidFill>
                <a:schemeClr val="accent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B$1</c:f>
              <c:strCache>
                <c:ptCount val="1"/>
                <c:pt idx="0">
                  <c:v>Rate per mWh</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Sheet1!$A$2:$A$5</c:f>
              <c:strCache>
                <c:ptCount val="4"/>
                <c:pt idx="0">
                  <c:v>Peoples Natural Gas</c:v>
                </c:pt>
                <c:pt idx="1">
                  <c:v>Duquesne Light</c:v>
                </c:pt>
                <c:pt idx="2">
                  <c:v>West Penn Power</c:v>
                </c:pt>
                <c:pt idx="3">
                  <c:v>Dominion Energy</c:v>
                </c:pt>
              </c:strCache>
            </c:strRef>
          </c:cat>
          <c:val>
            <c:numRef>
              <c:f>Sheet1!$B$2:$B$5</c:f>
              <c:numCache>
                <c:formatCode>General</c:formatCode>
                <c:ptCount val="4"/>
                <c:pt idx="0">
                  <c:v>65.08</c:v>
                </c:pt>
                <c:pt idx="1">
                  <c:v>80.36</c:v>
                </c:pt>
                <c:pt idx="2">
                  <c:v>86.11</c:v>
                </c:pt>
                <c:pt idx="3">
                  <c:v>92.89</c:v>
                </c:pt>
              </c:numCache>
            </c:numRef>
          </c:val>
          <c:extLst>
            <c:ext xmlns:c16="http://schemas.microsoft.com/office/drawing/2014/chart" uri="{C3380CC4-5D6E-409C-BE32-E72D297353CC}">
              <c16:uniqueId val="{00000000-5A2B-4325-BD1E-2BF049702009}"/>
            </c:ext>
          </c:extLst>
        </c:ser>
        <c:dLbls>
          <c:dLblPos val="outEnd"/>
          <c:showLegendKey val="0"/>
          <c:showVal val="1"/>
          <c:showCatName val="0"/>
          <c:showSerName val="0"/>
          <c:showPercent val="0"/>
          <c:showBubbleSize val="0"/>
        </c:dLbls>
        <c:gapWidth val="219"/>
        <c:overlap val="-27"/>
        <c:axId val="304718672"/>
        <c:axId val="304719152"/>
      </c:barChart>
      <c:catAx>
        <c:axId val="30471867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noProof="0">
                    <a:latin typeface="Arial" panose="020B0604020202020204" pitchFamily="34" charset="0"/>
                    <a:cs typeface="Arial" panose="020B0604020202020204" pitchFamily="34" charset="0"/>
                  </a:rPr>
                  <a:t>Utility</a:t>
                </a:r>
                <a:r>
                  <a:rPr lang="en-US" baseline="0" noProof="0">
                    <a:latin typeface="Arial" panose="020B0604020202020204" pitchFamily="34" charset="0"/>
                    <a:cs typeface="Arial" panose="020B0604020202020204" pitchFamily="34" charset="0"/>
                  </a:rPr>
                  <a:t> Companies</a:t>
                </a:r>
                <a:endParaRPr lang="en-US" noProof="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4719152"/>
        <c:crosses val="autoZero"/>
        <c:auto val="1"/>
        <c:lblAlgn val="ctr"/>
        <c:lblOffset val="100"/>
        <c:noMultiLvlLbl val="0"/>
      </c:catAx>
      <c:valAx>
        <c:axId val="304719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noProof="0">
                    <a:latin typeface="Arial" panose="020B0604020202020204" pitchFamily="34" charset="0"/>
                    <a:cs typeface="Arial" panose="020B0604020202020204" pitchFamily="34" charset="0"/>
                  </a:rPr>
                  <a:t>Rate per</a:t>
                </a:r>
                <a:r>
                  <a:rPr lang="en-US" baseline="0" noProof="0">
                    <a:latin typeface="Arial" panose="020B0604020202020204" pitchFamily="34" charset="0"/>
                    <a:cs typeface="Arial" panose="020B0604020202020204" pitchFamily="34" charset="0"/>
                  </a:rPr>
                  <a:t> </a:t>
                </a:r>
                <a:r>
                  <a:rPr lang="en-US" baseline="0" noProof="0" err="1">
                    <a:latin typeface="Arial" panose="020B0604020202020204" pitchFamily="34" charset="0"/>
                    <a:cs typeface="Arial" panose="020B0604020202020204" pitchFamily="34" charset="0"/>
                  </a:rPr>
                  <a:t>mWh</a:t>
                </a:r>
                <a:endParaRPr lang="en-US" noProof="0">
                  <a:latin typeface="Arial" panose="020B0604020202020204" pitchFamily="34" charset="0"/>
                  <a:cs typeface="Arial" panose="020B0604020202020204" pitchFamily="34" charset="0"/>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4718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2"/>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custLinFactNeighborY="2028">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2"/>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2"/>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2"/>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A41B6C3-8D83-46FC-B56B-7209F0320D30}"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EDF06149-061D-418C-A7EA-3AD9FF22B8EB}">
      <dgm:prSet custT="1"/>
      <dgm:spPr>
        <a:solidFill>
          <a:schemeClr val="accent1">
            <a:lumMod val="20000"/>
            <a:lumOff val="80000"/>
          </a:schemeClr>
        </a:solidFill>
        <a:ln>
          <a:noFill/>
        </a:ln>
      </dgm:spPr>
      <dgm:t>
        <a:bodyPr anchor="ctr"/>
        <a:lstStyle/>
        <a:p>
          <a:pPr algn="ctr"/>
          <a:r>
            <a:rPr lang="en-US" sz="1200" b="1" noProof="0">
              <a:solidFill>
                <a:schemeClr val="accent1"/>
              </a:solidFill>
              <a:latin typeface="Arial" panose="020B0604020202020204" pitchFamily="34" charset="0"/>
              <a:cs typeface="Arial" panose="020B0604020202020204" pitchFamily="34" charset="0"/>
            </a:rPr>
            <a:t>Unmatched Power Availability &amp; Reliability</a:t>
          </a:r>
        </a:p>
        <a:p>
          <a:pPr algn="l"/>
          <a:endParaRPr lang="en-US" sz="1200" b="1" noProof="0">
            <a:solidFill>
              <a:schemeClr val="accent1"/>
            </a:solidFill>
            <a:latin typeface="Arial" panose="020B0604020202020204" pitchFamily="34" charset="0"/>
            <a:cs typeface="Arial" panose="020B0604020202020204" pitchFamily="34" charset="0"/>
          </a:endParaRPr>
        </a:p>
        <a:p>
          <a:pPr algn="ctr"/>
          <a:r>
            <a:rPr lang="en-US" sz="1200" noProof="0">
              <a:solidFill>
                <a:schemeClr val="accent1"/>
              </a:solidFill>
              <a:latin typeface="Arial" panose="020B0604020202020204" pitchFamily="34" charset="0"/>
              <a:cs typeface="Arial" panose="020B0604020202020204" pitchFamily="34" charset="0"/>
            </a:rPr>
            <a:t>Northern Virginia offers ready access to 100–300+ MW of power with proven grid reliability, reducing delays and uncertainty for hyperscalers.</a:t>
          </a:r>
        </a:p>
      </dgm:t>
    </dgm:pt>
    <dgm:pt modelId="{70C1F654-8EFE-4964-BACC-36E4996838BA}" type="parTrans" cxnId="{3042485D-8962-4AD2-85DD-D631B1DC2B6A}">
      <dgm:prSet/>
      <dgm:spPr/>
      <dgm:t>
        <a:bodyPr/>
        <a:lstStyle/>
        <a:p>
          <a:endParaRPr lang="en-US"/>
        </a:p>
      </dgm:t>
    </dgm:pt>
    <dgm:pt modelId="{5AE4DE42-F214-47CF-A654-76D56FC97D0A}" type="sibTrans" cxnId="{3042485D-8962-4AD2-85DD-D631B1DC2B6A}">
      <dgm:prSet/>
      <dgm:spPr/>
      <dgm:t>
        <a:bodyPr/>
        <a:lstStyle/>
        <a:p>
          <a:endParaRPr lang="en-US"/>
        </a:p>
      </dgm:t>
    </dgm:pt>
    <dgm:pt modelId="{BF260BB4-07E5-4364-82E5-C0DE3DD855A0}">
      <dgm:prSet custT="1"/>
      <dgm:spPr>
        <a:solidFill>
          <a:schemeClr val="bg1">
            <a:lumMod val="85000"/>
          </a:schemeClr>
        </a:solidFill>
        <a:ln>
          <a:noFill/>
        </a:ln>
      </dgm:spPr>
      <dgm:t>
        <a:bodyPr anchor="ctr"/>
        <a:lstStyle/>
        <a:p>
          <a:pPr algn="ctr"/>
          <a:r>
            <a:rPr lang="en-US" sz="1200" b="1" noProof="0">
              <a:solidFill>
                <a:schemeClr val="accent1"/>
              </a:solidFill>
              <a:latin typeface="Arial" panose="020B0604020202020204" pitchFamily="34" charset="0"/>
              <a:cs typeface="Arial" panose="020B0604020202020204" pitchFamily="34" charset="0"/>
            </a:rPr>
            <a:t>Superior Fiber Connectivity</a:t>
          </a:r>
        </a:p>
        <a:p>
          <a:pPr algn="l"/>
          <a:endParaRPr lang="en-US" sz="1200" b="1" noProof="0">
            <a:solidFill>
              <a:schemeClr val="accent1"/>
            </a:solidFill>
            <a:latin typeface="Arial" panose="020B0604020202020204" pitchFamily="34" charset="0"/>
            <a:cs typeface="Arial" panose="020B0604020202020204" pitchFamily="34" charset="0"/>
          </a:endParaRPr>
        </a:p>
        <a:p>
          <a:pPr algn="ctr"/>
          <a:r>
            <a:rPr lang="en-US" sz="1200" noProof="0">
              <a:solidFill>
                <a:schemeClr val="accent1"/>
              </a:solidFill>
              <a:latin typeface="Arial" panose="020B0604020202020204" pitchFamily="34" charset="0"/>
              <a:cs typeface="Arial" panose="020B0604020202020204" pitchFamily="34" charset="0"/>
            </a:rPr>
            <a:t>Ashburn, VA is the world’s top internet exchange point with dense dark fiber and direct global routing—critical for latency-sensitive workloads.</a:t>
          </a:r>
        </a:p>
      </dgm:t>
    </dgm:pt>
    <dgm:pt modelId="{3E5FD882-0608-4BDD-8578-C167838C8FAE}" type="parTrans" cxnId="{F68F46E4-5FAF-400E-A328-CD43F9FAA98D}">
      <dgm:prSet/>
      <dgm:spPr/>
      <dgm:t>
        <a:bodyPr/>
        <a:lstStyle/>
        <a:p>
          <a:endParaRPr lang="en-US"/>
        </a:p>
      </dgm:t>
    </dgm:pt>
    <dgm:pt modelId="{850A91CA-BC4E-49B5-B932-D5D84C7A027E}" type="sibTrans" cxnId="{F68F46E4-5FAF-400E-A328-CD43F9FAA98D}">
      <dgm:prSet/>
      <dgm:spPr/>
      <dgm:t>
        <a:bodyPr/>
        <a:lstStyle/>
        <a:p>
          <a:endParaRPr lang="en-US"/>
        </a:p>
      </dgm:t>
    </dgm:pt>
    <dgm:pt modelId="{8B8BB69B-E6EF-486A-BF08-8C58112A168D}">
      <dgm:prSet custT="1"/>
      <dgm:spPr>
        <a:solidFill>
          <a:schemeClr val="accent2">
            <a:lumMod val="40000"/>
            <a:lumOff val="60000"/>
          </a:schemeClr>
        </a:solidFill>
        <a:ln>
          <a:noFill/>
        </a:ln>
      </dgm:spPr>
      <dgm:t>
        <a:bodyPr anchor="ctr"/>
        <a:lstStyle/>
        <a:p>
          <a:pPr algn="ctr"/>
          <a:r>
            <a:rPr lang="en-US" sz="1200" b="1" noProof="0">
              <a:solidFill>
                <a:schemeClr val="accent1"/>
              </a:solidFill>
              <a:latin typeface="Arial" panose="020B0604020202020204" pitchFamily="34" charset="0"/>
              <a:cs typeface="Arial" panose="020B0604020202020204" pitchFamily="34" charset="0"/>
            </a:rPr>
            <a:t>Incentives and Policy Support</a:t>
          </a:r>
        </a:p>
        <a:p>
          <a:pPr algn="l"/>
          <a:endParaRPr lang="en-US" sz="1200" b="1" noProof="0">
            <a:solidFill>
              <a:schemeClr val="accent1"/>
            </a:solidFill>
            <a:latin typeface="Arial" panose="020B0604020202020204" pitchFamily="34" charset="0"/>
            <a:cs typeface="Arial" panose="020B0604020202020204" pitchFamily="34" charset="0"/>
          </a:endParaRPr>
        </a:p>
        <a:p>
          <a:pPr algn="ctr"/>
          <a:r>
            <a:rPr lang="en-US" sz="1200" noProof="0">
              <a:solidFill>
                <a:schemeClr val="accent1"/>
              </a:solidFill>
              <a:latin typeface="Arial" panose="020B0604020202020204" pitchFamily="34" charset="0"/>
              <a:cs typeface="Arial" panose="020B0604020202020204" pitchFamily="34" charset="0"/>
            </a:rPr>
            <a:t>Virginia offers targeted tax breaks on equipment and electricity use, making long-term operations significantly cheaper for data center tenants.</a:t>
          </a:r>
        </a:p>
      </dgm:t>
    </dgm:pt>
    <dgm:pt modelId="{83299458-345A-4701-96DC-B34B25E8466E}" type="parTrans" cxnId="{73B28B52-36B0-49DB-8658-352D49313D8B}">
      <dgm:prSet/>
      <dgm:spPr/>
      <dgm:t>
        <a:bodyPr/>
        <a:lstStyle/>
        <a:p>
          <a:endParaRPr lang="en-US"/>
        </a:p>
      </dgm:t>
    </dgm:pt>
    <dgm:pt modelId="{CF4A6391-505E-4E42-A40E-B70F0B84EEE0}" type="sibTrans" cxnId="{73B28B52-36B0-49DB-8658-352D49313D8B}">
      <dgm:prSet/>
      <dgm:spPr/>
      <dgm:t>
        <a:bodyPr/>
        <a:lstStyle/>
        <a:p>
          <a:endParaRPr lang="en-US"/>
        </a:p>
      </dgm:t>
    </dgm:pt>
    <dgm:pt modelId="{B97B012A-0817-4479-A65E-63BD3F8D43CB}">
      <dgm:prSet custT="1"/>
      <dgm:spPr>
        <a:solidFill>
          <a:schemeClr val="accent3">
            <a:lumMod val="40000"/>
            <a:lumOff val="60000"/>
          </a:schemeClr>
        </a:solidFill>
        <a:ln>
          <a:noFill/>
        </a:ln>
      </dgm:spPr>
      <dgm:t>
        <a:bodyPr anchor="ctr"/>
        <a:lstStyle/>
        <a:p>
          <a:pPr algn="ctr"/>
          <a:r>
            <a:rPr lang="en-US" sz="1200" b="1" noProof="0">
              <a:solidFill>
                <a:schemeClr val="accent1"/>
              </a:solidFill>
              <a:latin typeface="Arial" panose="020B0604020202020204" pitchFamily="34" charset="0"/>
              <a:cs typeface="Arial" panose="020B0604020202020204" pitchFamily="34" charset="0"/>
            </a:rPr>
            <a:t>Workforce Specialization</a:t>
          </a:r>
        </a:p>
        <a:p>
          <a:pPr algn="ctr"/>
          <a:endParaRPr lang="en-US" sz="1200" b="1" noProof="0">
            <a:solidFill>
              <a:schemeClr val="accent1"/>
            </a:solidFill>
            <a:latin typeface="Arial" panose="020B0604020202020204" pitchFamily="34" charset="0"/>
            <a:cs typeface="Arial" panose="020B0604020202020204" pitchFamily="34" charset="0"/>
          </a:endParaRPr>
        </a:p>
        <a:p>
          <a:pPr algn="ctr"/>
          <a:r>
            <a:rPr lang="en-US" sz="1200" noProof="0" err="1">
              <a:solidFill>
                <a:schemeClr val="accent1"/>
              </a:solidFill>
              <a:latin typeface="Arial" panose="020B0604020202020204" pitchFamily="34" charset="0"/>
              <a:cs typeface="Arial" panose="020B0604020202020204" pitchFamily="34" charset="0"/>
            </a:rPr>
            <a:t>NoVA</a:t>
          </a:r>
          <a:r>
            <a:rPr lang="en-US" sz="1200" noProof="0">
              <a:solidFill>
                <a:schemeClr val="accent1"/>
              </a:solidFill>
              <a:latin typeface="Arial" panose="020B0604020202020204" pitchFamily="34" charset="0"/>
              <a:cs typeface="Arial" panose="020B0604020202020204" pitchFamily="34" charset="0"/>
            </a:rPr>
            <a:t> boasts a large, experienced talent pool in cloud infrastructure and operations, reducing staffing risks for hyperscale builds.</a:t>
          </a:r>
        </a:p>
      </dgm:t>
    </dgm:pt>
    <dgm:pt modelId="{DAC6845E-3D64-466F-9E35-F10D90784A0D}" type="parTrans" cxnId="{0807613E-43B4-4009-99D3-141F4A7C6E81}">
      <dgm:prSet/>
      <dgm:spPr/>
      <dgm:t>
        <a:bodyPr/>
        <a:lstStyle/>
        <a:p>
          <a:endParaRPr lang="en-US"/>
        </a:p>
      </dgm:t>
    </dgm:pt>
    <dgm:pt modelId="{ECC37578-FFB4-471F-A475-BCAC0D5BF7DF}" type="sibTrans" cxnId="{0807613E-43B4-4009-99D3-141F4A7C6E81}">
      <dgm:prSet/>
      <dgm:spPr/>
      <dgm:t>
        <a:bodyPr/>
        <a:lstStyle/>
        <a:p>
          <a:endParaRPr lang="en-US"/>
        </a:p>
      </dgm:t>
    </dgm:pt>
    <dgm:pt modelId="{C46644A5-5E6A-472F-BD8A-D33EC5A8F700}">
      <dgm:prSet custT="1"/>
      <dgm:spPr>
        <a:solidFill>
          <a:schemeClr val="accent4">
            <a:lumMod val="90000"/>
          </a:schemeClr>
        </a:solidFill>
        <a:ln>
          <a:noFill/>
        </a:ln>
      </dgm:spPr>
      <dgm:t>
        <a:bodyPr anchor="ctr"/>
        <a:lstStyle/>
        <a:p>
          <a:pPr algn="ctr"/>
          <a:r>
            <a:rPr lang="en-US" sz="1200" b="1" noProof="0">
              <a:solidFill>
                <a:schemeClr val="accent1"/>
              </a:solidFill>
              <a:latin typeface="Arial" panose="020B0604020202020204" pitchFamily="34" charset="0"/>
              <a:cs typeface="Arial" panose="020B0604020202020204" pitchFamily="34" charset="0"/>
            </a:rPr>
            <a:t>Risk Aversion &amp; Brand Preference</a:t>
          </a:r>
        </a:p>
        <a:p>
          <a:pPr algn="ctr"/>
          <a:endParaRPr lang="en-US" sz="1200" b="1" noProof="0">
            <a:solidFill>
              <a:schemeClr val="accent1"/>
            </a:solidFill>
            <a:latin typeface="Arial" panose="020B0604020202020204" pitchFamily="34" charset="0"/>
            <a:cs typeface="Arial" panose="020B0604020202020204" pitchFamily="34" charset="0"/>
          </a:endParaRPr>
        </a:p>
        <a:p>
          <a:pPr algn="ctr"/>
          <a:r>
            <a:rPr lang="en-US" sz="1200" noProof="0">
              <a:solidFill>
                <a:schemeClr val="accent1"/>
              </a:solidFill>
              <a:latin typeface="Arial" panose="020B0604020202020204" pitchFamily="34" charset="0"/>
              <a:cs typeface="Arial" panose="020B0604020202020204" pitchFamily="34" charset="0"/>
            </a:rPr>
            <a:t>Hyperscalers prefer expanding in </a:t>
          </a:r>
          <a:r>
            <a:rPr lang="en-US" sz="1200" noProof="0" err="1">
              <a:solidFill>
                <a:schemeClr val="accent1"/>
              </a:solidFill>
              <a:latin typeface="Arial" panose="020B0604020202020204" pitchFamily="34" charset="0"/>
              <a:cs typeface="Arial" panose="020B0604020202020204" pitchFamily="34" charset="0"/>
            </a:rPr>
            <a:t>NoVA</a:t>
          </a:r>
          <a:r>
            <a:rPr lang="en-US" sz="1200" noProof="0">
              <a:solidFill>
                <a:schemeClr val="accent1"/>
              </a:solidFill>
              <a:latin typeface="Arial" panose="020B0604020202020204" pitchFamily="34" charset="0"/>
              <a:cs typeface="Arial" panose="020B0604020202020204" pitchFamily="34" charset="0"/>
            </a:rPr>
            <a:t> due to existing investments, proven suppliers, and reduced operational risk compared to newer markets like Pittsburgh.</a:t>
          </a:r>
        </a:p>
      </dgm:t>
    </dgm:pt>
    <dgm:pt modelId="{AB384AC8-87FE-4225-AE04-28D6B28C9FC3}" type="parTrans" cxnId="{626C7B2D-01A3-44EA-85F0-EA9033B17EE5}">
      <dgm:prSet/>
      <dgm:spPr/>
      <dgm:t>
        <a:bodyPr/>
        <a:lstStyle/>
        <a:p>
          <a:endParaRPr lang="en-US"/>
        </a:p>
      </dgm:t>
    </dgm:pt>
    <dgm:pt modelId="{A67B8A8F-B75F-4077-A43A-A18D9492AE0F}" type="sibTrans" cxnId="{626C7B2D-01A3-44EA-85F0-EA9033B17EE5}">
      <dgm:prSet/>
      <dgm:spPr/>
      <dgm:t>
        <a:bodyPr/>
        <a:lstStyle/>
        <a:p>
          <a:endParaRPr lang="en-US"/>
        </a:p>
      </dgm:t>
    </dgm:pt>
    <dgm:pt modelId="{69272280-519D-4B44-BEBD-E794A9A558A5}" type="pres">
      <dgm:prSet presAssocID="{AA41B6C3-8D83-46FC-B56B-7209F0320D30}" presName="diagram" presStyleCnt="0">
        <dgm:presLayoutVars>
          <dgm:dir/>
          <dgm:resizeHandles val="exact"/>
        </dgm:presLayoutVars>
      </dgm:prSet>
      <dgm:spPr/>
    </dgm:pt>
    <dgm:pt modelId="{D0BA8F7D-963A-4BB5-A6D6-45C92AB32C5E}" type="pres">
      <dgm:prSet presAssocID="{EDF06149-061D-418C-A7EA-3AD9FF22B8EB}" presName="node" presStyleLbl="node1" presStyleIdx="0" presStyleCnt="5" custScaleX="89210" custScaleY="75287">
        <dgm:presLayoutVars>
          <dgm:bulletEnabled val="1"/>
        </dgm:presLayoutVars>
      </dgm:prSet>
      <dgm:spPr/>
    </dgm:pt>
    <dgm:pt modelId="{4118C0E4-E8F2-4CFD-966A-A835E25A35C5}" type="pres">
      <dgm:prSet presAssocID="{5AE4DE42-F214-47CF-A654-76D56FC97D0A}" presName="sibTrans" presStyleCnt="0"/>
      <dgm:spPr/>
    </dgm:pt>
    <dgm:pt modelId="{89261C5F-10AA-4AB1-A8B3-A7090452DAA1}" type="pres">
      <dgm:prSet presAssocID="{BF260BB4-07E5-4364-82E5-C0DE3DD855A0}" presName="node" presStyleLbl="node1" presStyleIdx="1" presStyleCnt="5" custScaleX="89210" custScaleY="75287" custLinFactNeighborY="-1009">
        <dgm:presLayoutVars>
          <dgm:bulletEnabled val="1"/>
        </dgm:presLayoutVars>
      </dgm:prSet>
      <dgm:spPr/>
    </dgm:pt>
    <dgm:pt modelId="{5B4038E9-707E-455B-8AE3-60A1C4F9A55F}" type="pres">
      <dgm:prSet presAssocID="{850A91CA-BC4E-49B5-B932-D5D84C7A027E}" presName="sibTrans" presStyleCnt="0"/>
      <dgm:spPr/>
    </dgm:pt>
    <dgm:pt modelId="{B7853519-76B1-4875-8EDC-52E4A12C0E5D}" type="pres">
      <dgm:prSet presAssocID="{8B8BB69B-E6EF-486A-BF08-8C58112A168D}" presName="node" presStyleLbl="node1" presStyleIdx="2" presStyleCnt="5" custScaleX="89210" custScaleY="75287">
        <dgm:presLayoutVars>
          <dgm:bulletEnabled val="1"/>
        </dgm:presLayoutVars>
      </dgm:prSet>
      <dgm:spPr/>
    </dgm:pt>
    <dgm:pt modelId="{02FBF737-D7D5-4916-B1E3-EAEB21164FBE}" type="pres">
      <dgm:prSet presAssocID="{CF4A6391-505E-4E42-A40E-B70F0B84EEE0}" presName="sibTrans" presStyleCnt="0"/>
      <dgm:spPr/>
    </dgm:pt>
    <dgm:pt modelId="{70CBCD01-BA65-4F17-9749-73B4EAB05154}" type="pres">
      <dgm:prSet presAssocID="{B97B012A-0817-4479-A65E-63BD3F8D43CB}" presName="node" presStyleLbl="node1" presStyleIdx="3" presStyleCnt="5" custScaleX="89210" custScaleY="75287">
        <dgm:presLayoutVars>
          <dgm:bulletEnabled val="1"/>
        </dgm:presLayoutVars>
      </dgm:prSet>
      <dgm:spPr/>
    </dgm:pt>
    <dgm:pt modelId="{97DC69D6-1938-4B5E-8D60-DE15EE43F857}" type="pres">
      <dgm:prSet presAssocID="{ECC37578-FFB4-471F-A475-BCAC0D5BF7DF}" presName="sibTrans" presStyleCnt="0"/>
      <dgm:spPr/>
    </dgm:pt>
    <dgm:pt modelId="{821366CE-C3F3-44FE-B117-41543F71724C}" type="pres">
      <dgm:prSet presAssocID="{C46644A5-5E6A-472F-BD8A-D33EC5A8F700}" presName="node" presStyleLbl="node1" presStyleIdx="4" presStyleCnt="5" custScaleX="89210" custScaleY="75287">
        <dgm:presLayoutVars>
          <dgm:bulletEnabled val="1"/>
        </dgm:presLayoutVars>
      </dgm:prSet>
      <dgm:spPr/>
    </dgm:pt>
  </dgm:ptLst>
  <dgm:cxnLst>
    <dgm:cxn modelId="{626C7B2D-01A3-44EA-85F0-EA9033B17EE5}" srcId="{AA41B6C3-8D83-46FC-B56B-7209F0320D30}" destId="{C46644A5-5E6A-472F-BD8A-D33EC5A8F700}" srcOrd="4" destOrd="0" parTransId="{AB384AC8-87FE-4225-AE04-28D6B28C9FC3}" sibTransId="{A67B8A8F-B75F-4077-A43A-A18D9492AE0F}"/>
    <dgm:cxn modelId="{0807613E-43B4-4009-99D3-141F4A7C6E81}" srcId="{AA41B6C3-8D83-46FC-B56B-7209F0320D30}" destId="{B97B012A-0817-4479-A65E-63BD3F8D43CB}" srcOrd="3" destOrd="0" parTransId="{DAC6845E-3D64-466F-9E35-F10D90784A0D}" sibTransId="{ECC37578-FFB4-471F-A475-BCAC0D5BF7DF}"/>
    <dgm:cxn modelId="{3042485D-8962-4AD2-85DD-D631B1DC2B6A}" srcId="{AA41B6C3-8D83-46FC-B56B-7209F0320D30}" destId="{EDF06149-061D-418C-A7EA-3AD9FF22B8EB}" srcOrd="0" destOrd="0" parTransId="{70C1F654-8EFE-4964-BACC-36E4996838BA}" sibTransId="{5AE4DE42-F214-47CF-A654-76D56FC97D0A}"/>
    <dgm:cxn modelId="{F39F7948-1439-4055-A999-B88B68B73433}" type="presOf" srcId="{8B8BB69B-E6EF-486A-BF08-8C58112A168D}" destId="{B7853519-76B1-4875-8EDC-52E4A12C0E5D}" srcOrd="0" destOrd="0" presId="urn:microsoft.com/office/officeart/2005/8/layout/default"/>
    <dgm:cxn modelId="{6CC3294C-FFBF-403A-A7D4-E896C33F96A5}" type="presOf" srcId="{B97B012A-0817-4479-A65E-63BD3F8D43CB}" destId="{70CBCD01-BA65-4F17-9749-73B4EAB05154}" srcOrd="0" destOrd="0" presId="urn:microsoft.com/office/officeart/2005/8/layout/default"/>
    <dgm:cxn modelId="{2AD6116F-58DD-421E-B912-DB6AB21778B9}" type="presOf" srcId="{AA41B6C3-8D83-46FC-B56B-7209F0320D30}" destId="{69272280-519D-4B44-BEBD-E794A9A558A5}" srcOrd="0" destOrd="0" presId="urn:microsoft.com/office/officeart/2005/8/layout/default"/>
    <dgm:cxn modelId="{73B28B52-36B0-49DB-8658-352D49313D8B}" srcId="{AA41B6C3-8D83-46FC-B56B-7209F0320D30}" destId="{8B8BB69B-E6EF-486A-BF08-8C58112A168D}" srcOrd="2" destOrd="0" parTransId="{83299458-345A-4701-96DC-B34B25E8466E}" sibTransId="{CF4A6391-505E-4E42-A40E-B70F0B84EEE0}"/>
    <dgm:cxn modelId="{65B7BBA7-AADC-4C83-9209-3A8010B8A69A}" type="presOf" srcId="{C46644A5-5E6A-472F-BD8A-D33EC5A8F700}" destId="{821366CE-C3F3-44FE-B117-41543F71724C}" srcOrd="0" destOrd="0" presId="urn:microsoft.com/office/officeart/2005/8/layout/default"/>
    <dgm:cxn modelId="{6C8535D1-7EA0-4646-9EAF-968556A34120}" type="presOf" srcId="{BF260BB4-07E5-4364-82E5-C0DE3DD855A0}" destId="{89261C5F-10AA-4AB1-A8B3-A7090452DAA1}" srcOrd="0" destOrd="0" presId="urn:microsoft.com/office/officeart/2005/8/layout/default"/>
    <dgm:cxn modelId="{F68F46E4-5FAF-400E-A328-CD43F9FAA98D}" srcId="{AA41B6C3-8D83-46FC-B56B-7209F0320D30}" destId="{BF260BB4-07E5-4364-82E5-C0DE3DD855A0}" srcOrd="1" destOrd="0" parTransId="{3E5FD882-0608-4BDD-8578-C167838C8FAE}" sibTransId="{850A91CA-BC4E-49B5-B932-D5D84C7A027E}"/>
    <dgm:cxn modelId="{6E32A7E6-B900-4A85-B162-43E8A2F469DA}" type="presOf" srcId="{EDF06149-061D-418C-A7EA-3AD9FF22B8EB}" destId="{D0BA8F7D-963A-4BB5-A6D6-45C92AB32C5E}" srcOrd="0" destOrd="0" presId="urn:microsoft.com/office/officeart/2005/8/layout/default"/>
    <dgm:cxn modelId="{4919E0F0-FB45-4B9D-A08D-97D2E91CEE61}" type="presParOf" srcId="{69272280-519D-4B44-BEBD-E794A9A558A5}" destId="{D0BA8F7D-963A-4BB5-A6D6-45C92AB32C5E}" srcOrd="0" destOrd="0" presId="urn:microsoft.com/office/officeart/2005/8/layout/default"/>
    <dgm:cxn modelId="{A0CCB128-E0F0-45DB-ACB0-2DE85D11AF8E}" type="presParOf" srcId="{69272280-519D-4B44-BEBD-E794A9A558A5}" destId="{4118C0E4-E8F2-4CFD-966A-A835E25A35C5}" srcOrd="1" destOrd="0" presId="urn:microsoft.com/office/officeart/2005/8/layout/default"/>
    <dgm:cxn modelId="{A4EDAAA5-4E8A-4D9A-89DC-89C0A28E19A9}" type="presParOf" srcId="{69272280-519D-4B44-BEBD-E794A9A558A5}" destId="{89261C5F-10AA-4AB1-A8B3-A7090452DAA1}" srcOrd="2" destOrd="0" presId="urn:microsoft.com/office/officeart/2005/8/layout/default"/>
    <dgm:cxn modelId="{093E1186-A507-46AD-803F-33C062155A54}" type="presParOf" srcId="{69272280-519D-4B44-BEBD-E794A9A558A5}" destId="{5B4038E9-707E-455B-8AE3-60A1C4F9A55F}" srcOrd="3" destOrd="0" presId="urn:microsoft.com/office/officeart/2005/8/layout/default"/>
    <dgm:cxn modelId="{60FE4928-F62C-43BD-A2F7-1696BD7E1CE6}" type="presParOf" srcId="{69272280-519D-4B44-BEBD-E794A9A558A5}" destId="{B7853519-76B1-4875-8EDC-52E4A12C0E5D}" srcOrd="4" destOrd="0" presId="urn:microsoft.com/office/officeart/2005/8/layout/default"/>
    <dgm:cxn modelId="{F1547527-148C-4A09-BFD8-D6867125B664}" type="presParOf" srcId="{69272280-519D-4B44-BEBD-E794A9A558A5}" destId="{02FBF737-D7D5-4916-B1E3-EAEB21164FBE}" srcOrd="5" destOrd="0" presId="urn:microsoft.com/office/officeart/2005/8/layout/default"/>
    <dgm:cxn modelId="{7311B682-6F5E-4A78-A944-2B431419AFD3}" type="presParOf" srcId="{69272280-519D-4B44-BEBD-E794A9A558A5}" destId="{70CBCD01-BA65-4F17-9749-73B4EAB05154}" srcOrd="6" destOrd="0" presId="urn:microsoft.com/office/officeart/2005/8/layout/default"/>
    <dgm:cxn modelId="{9D462B98-5D9E-4722-AEB0-7882D525D73A}" type="presParOf" srcId="{69272280-519D-4B44-BEBD-E794A9A558A5}" destId="{97DC69D6-1938-4B5E-8D60-DE15EE43F857}" srcOrd="7" destOrd="0" presId="urn:microsoft.com/office/officeart/2005/8/layout/default"/>
    <dgm:cxn modelId="{FB8E0AC9-0663-4856-A56F-16BF0E015106}" type="presParOf" srcId="{69272280-519D-4B44-BEBD-E794A9A558A5}" destId="{821366CE-C3F3-44FE-B117-41543F71724C}"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2"/>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2"/>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2"/>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rgbClr val="FFC000"/>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rgbClr val="FFC000"/>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2"/>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SWOT Analysi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2"/>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2"/>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703F577-2E97-4397-BEA7-152B0EC28BCD}" type="doc">
      <dgm:prSet loTypeId="urn:microsoft.com/office/officeart/2005/8/layout/chevron1" loCatId="process" qsTypeId="urn:microsoft.com/office/officeart/2005/8/quickstyle/simple1" qsCatId="simple" csTypeId="urn:microsoft.com/office/officeart/2005/8/colors/accent1_3" csCatId="accent1" phldr="1"/>
      <dgm:spPr/>
    </dgm:pt>
    <dgm:pt modelId="{609B90D9-834A-4469-9364-C56F00C8BCB1}">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Executive Summary</a:t>
          </a:r>
        </a:p>
      </dgm:t>
    </dgm:pt>
    <dgm:pt modelId="{EE54CA25-59B6-4DE3-A663-6C5DCA9A2314}" type="par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8DDCCB6D-3E9D-4BC8-B09E-50283D4C4A16}" type="sibTrans" cxnId="{B4017058-4813-4220-A449-84AB1D3BB1B2}">
      <dgm:prSet/>
      <dgm:spPr/>
      <dgm:t>
        <a:bodyPr/>
        <a:lstStyle/>
        <a:p>
          <a:endParaRPr lang="en-IN">
            <a:latin typeface="Arial" panose="020B0604020202020204" pitchFamily="34" charset="0"/>
            <a:cs typeface="Arial" panose="020B0604020202020204" pitchFamily="34" charset="0"/>
          </a:endParaRPr>
        </a:p>
      </dgm:t>
    </dgm:pt>
    <dgm:pt modelId="{9F3EB64E-05E0-4479-A953-90556E4CABA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Recommendations</a:t>
          </a:r>
        </a:p>
      </dgm:t>
    </dgm:pt>
    <dgm:pt modelId="{B8775462-6B8E-400C-843C-4573DD7BF324}" type="par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855BBC3E-01A5-4D1B-A446-3E520783AFA8}" type="sibTrans" cxnId="{04454E6C-E884-46CB-9CCF-2E2F2D3FB9F6}">
      <dgm:prSet/>
      <dgm:spPr/>
      <dgm:t>
        <a:bodyPr/>
        <a:lstStyle/>
        <a:p>
          <a:endParaRPr lang="en-IN">
            <a:latin typeface="Arial" panose="020B0604020202020204" pitchFamily="34" charset="0"/>
            <a:cs typeface="Arial" panose="020B0604020202020204" pitchFamily="34" charset="0"/>
          </a:endParaRPr>
        </a:p>
      </dgm:t>
    </dgm:pt>
    <dgm:pt modelId="{D2F8A30B-C344-42AD-BB82-C086163527C8}">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 Research</a:t>
          </a:r>
        </a:p>
      </dgm:t>
    </dgm:pt>
    <dgm:pt modelId="{09D02A19-8A44-47B7-BA3C-AAD42BAB3259}" type="par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FC0C405-F8FC-488D-A416-FCDE67D2ADFD}" type="sibTrans" cxnId="{4ED4BCBB-942A-44B2-B74E-06D194EC3BC0}">
      <dgm:prSet/>
      <dgm:spPr/>
      <dgm:t>
        <a:bodyPr/>
        <a:lstStyle/>
        <a:p>
          <a:endParaRPr lang="en-IN">
            <a:latin typeface="Arial" panose="020B0604020202020204" pitchFamily="34" charset="0"/>
            <a:cs typeface="Arial" panose="020B0604020202020204" pitchFamily="34" charset="0"/>
          </a:endParaRPr>
        </a:p>
      </dgm:t>
    </dgm:pt>
    <dgm:pt modelId="{77A33A34-298B-4A4E-9E8B-0E43943D9F0F}">
      <dgm:prSet phldrT="[Text]"/>
      <dgm:spPr>
        <a:solidFill>
          <a:schemeClr val="accent1">
            <a:lumMod val="75000"/>
          </a:schemeClr>
        </a:solidFill>
      </dgm:spPr>
      <dgm:t>
        <a:bodyPr/>
        <a:lstStyle/>
        <a:p>
          <a:r>
            <a:rPr lang="en-US" noProof="0">
              <a:latin typeface="Arial" panose="020B0604020202020204" pitchFamily="34" charset="0"/>
              <a:cs typeface="Arial" panose="020B0604020202020204" pitchFamily="34" charset="0"/>
            </a:rPr>
            <a:t>Marketing</a:t>
          </a:r>
        </a:p>
      </dgm:t>
    </dgm:pt>
    <dgm:pt modelId="{73392719-47A3-46D0-8099-4BC0BFC03BE0}" type="par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CF595A0F-5E2F-481E-BC1C-F72D8FCAA86E}" type="sibTrans" cxnId="{F5035B5B-1FEF-4F3E-8C64-E4E206A9F41F}">
      <dgm:prSet/>
      <dgm:spPr/>
      <dgm:t>
        <a:bodyPr/>
        <a:lstStyle/>
        <a:p>
          <a:endParaRPr lang="en-IN">
            <a:latin typeface="Arial" panose="020B0604020202020204" pitchFamily="34" charset="0"/>
            <a:cs typeface="Arial" panose="020B0604020202020204" pitchFamily="34" charset="0"/>
          </a:endParaRPr>
        </a:p>
      </dgm:t>
    </dgm:pt>
    <dgm:pt modelId="{9AA5EDB1-1732-474E-AB54-C3F1A2CAE3DD}">
      <dgm:prSet phldrT="[Text]"/>
      <dgm:spPr>
        <a:solidFill>
          <a:schemeClr val="accent2"/>
        </a:solidFill>
      </dgm:spPr>
      <dgm:t>
        <a:bodyPr/>
        <a:lstStyle/>
        <a:p>
          <a:r>
            <a:rPr lang="en-US" noProof="0">
              <a:latin typeface="Arial" panose="020B0604020202020204" pitchFamily="34" charset="0"/>
              <a:cs typeface="Arial" panose="020B0604020202020204" pitchFamily="34" charset="0"/>
            </a:rPr>
            <a:t>Key Insights</a:t>
          </a:r>
        </a:p>
      </dgm:t>
    </dgm:pt>
    <dgm:pt modelId="{5A5D7F50-BCEA-4C7C-9A6D-C37C99088AB2}" type="par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775B42D7-41CB-4B87-982E-2C9C3C924ABC}" type="sibTrans" cxnId="{72BD99C0-0FF7-4671-B66D-F455F6C51815}">
      <dgm:prSet/>
      <dgm:spPr/>
      <dgm:t>
        <a:bodyPr/>
        <a:lstStyle/>
        <a:p>
          <a:endParaRPr lang="en-IN">
            <a:latin typeface="Arial" panose="020B0604020202020204" pitchFamily="34" charset="0"/>
            <a:cs typeface="Arial" panose="020B0604020202020204" pitchFamily="34" charset="0"/>
          </a:endParaRPr>
        </a:p>
      </dgm:t>
    </dgm:pt>
    <dgm:pt modelId="{036B8D95-ED75-4047-B420-DC1AA2EAB775}" type="pres">
      <dgm:prSet presAssocID="{E703F577-2E97-4397-BEA7-152B0EC28BCD}" presName="Name0" presStyleCnt="0">
        <dgm:presLayoutVars>
          <dgm:dir/>
          <dgm:animLvl val="lvl"/>
          <dgm:resizeHandles val="exact"/>
        </dgm:presLayoutVars>
      </dgm:prSet>
      <dgm:spPr/>
    </dgm:pt>
    <dgm:pt modelId="{9846B95F-7042-44C1-9C12-D2BA08910983}" type="pres">
      <dgm:prSet presAssocID="{609B90D9-834A-4469-9364-C56F00C8BCB1}" presName="parTxOnly" presStyleLbl="node1" presStyleIdx="0" presStyleCnt="5">
        <dgm:presLayoutVars>
          <dgm:chMax val="0"/>
          <dgm:chPref val="0"/>
          <dgm:bulletEnabled val="1"/>
        </dgm:presLayoutVars>
      </dgm:prSet>
      <dgm:spPr/>
    </dgm:pt>
    <dgm:pt modelId="{6F753C01-F163-47EF-B62E-DCCBCE851046}" type="pres">
      <dgm:prSet presAssocID="{8DDCCB6D-3E9D-4BC8-B09E-50283D4C4A16}" presName="parTxOnlySpace" presStyleCnt="0"/>
      <dgm:spPr/>
    </dgm:pt>
    <dgm:pt modelId="{9D050D64-DC14-45DF-BEB5-CCCCBF8ADB5C}" type="pres">
      <dgm:prSet presAssocID="{D2F8A30B-C344-42AD-BB82-C086163527C8}" presName="parTxOnly" presStyleLbl="node1" presStyleIdx="1" presStyleCnt="5">
        <dgm:presLayoutVars>
          <dgm:chMax val="0"/>
          <dgm:chPref val="0"/>
          <dgm:bulletEnabled val="1"/>
        </dgm:presLayoutVars>
      </dgm:prSet>
      <dgm:spPr/>
    </dgm:pt>
    <dgm:pt modelId="{0CF7B777-95A6-4E6C-9194-B6E044928939}" type="pres">
      <dgm:prSet presAssocID="{7FC0C405-F8FC-488D-A416-FCDE67D2ADFD}" presName="parTxOnlySpace" presStyleCnt="0"/>
      <dgm:spPr/>
    </dgm:pt>
    <dgm:pt modelId="{3669C547-4D3D-4342-8716-A6F850EC2BD7}" type="pres">
      <dgm:prSet presAssocID="{9AA5EDB1-1732-474E-AB54-C3F1A2CAE3DD}" presName="parTxOnly" presStyleLbl="node1" presStyleIdx="2" presStyleCnt="5">
        <dgm:presLayoutVars>
          <dgm:chMax val="0"/>
          <dgm:chPref val="0"/>
          <dgm:bulletEnabled val="1"/>
        </dgm:presLayoutVars>
      </dgm:prSet>
      <dgm:spPr/>
    </dgm:pt>
    <dgm:pt modelId="{52D477A6-5A71-4603-BC7A-2990C600A431}" type="pres">
      <dgm:prSet presAssocID="{775B42D7-41CB-4B87-982E-2C9C3C924ABC}" presName="parTxOnlySpace" presStyleCnt="0"/>
      <dgm:spPr/>
    </dgm:pt>
    <dgm:pt modelId="{9C6F727E-852E-44D2-AF6F-7FB84C799472}" type="pres">
      <dgm:prSet presAssocID="{77A33A34-298B-4A4E-9E8B-0E43943D9F0F}" presName="parTxOnly" presStyleLbl="node1" presStyleIdx="3" presStyleCnt="5">
        <dgm:presLayoutVars>
          <dgm:chMax val="0"/>
          <dgm:chPref val="0"/>
          <dgm:bulletEnabled val="1"/>
        </dgm:presLayoutVars>
      </dgm:prSet>
      <dgm:spPr/>
    </dgm:pt>
    <dgm:pt modelId="{D8D2DB18-0E7B-4A6F-BE17-9C551FBBFE64}" type="pres">
      <dgm:prSet presAssocID="{CF595A0F-5E2F-481E-BC1C-F72D8FCAA86E}" presName="parTxOnlySpace" presStyleCnt="0"/>
      <dgm:spPr/>
    </dgm:pt>
    <dgm:pt modelId="{1D6A4FF4-06DD-43B6-8BA0-F9D612EFE370}" type="pres">
      <dgm:prSet presAssocID="{9F3EB64E-05E0-4479-A953-90556E4CABAF}" presName="parTxOnly" presStyleLbl="node1" presStyleIdx="4" presStyleCnt="5">
        <dgm:presLayoutVars>
          <dgm:chMax val="0"/>
          <dgm:chPref val="0"/>
          <dgm:bulletEnabled val="1"/>
        </dgm:presLayoutVars>
      </dgm:prSet>
      <dgm:spPr/>
    </dgm:pt>
  </dgm:ptLst>
  <dgm:cxnLst>
    <dgm:cxn modelId="{057D9718-F1EA-4CE7-85DB-A5719FB74A7A}" type="presOf" srcId="{77A33A34-298B-4A4E-9E8B-0E43943D9F0F}" destId="{9C6F727E-852E-44D2-AF6F-7FB84C799472}" srcOrd="0" destOrd="0" presId="urn:microsoft.com/office/officeart/2005/8/layout/chevron1"/>
    <dgm:cxn modelId="{0D4DE036-930F-4B63-A6AA-CD4ED75381B0}" type="presOf" srcId="{9F3EB64E-05E0-4479-A953-90556E4CABAF}" destId="{1D6A4FF4-06DD-43B6-8BA0-F9D612EFE370}" srcOrd="0" destOrd="0" presId="urn:microsoft.com/office/officeart/2005/8/layout/chevron1"/>
    <dgm:cxn modelId="{F5035B5B-1FEF-4F3E-8C64-E4E206A9F41F}" srcId="{E703F577-2E97-4397-BEA7-152B0EC28BCD}" destId="{77A33A34-298B-4A4E-9E8B-0E43943D9F0F}" srcOrd="3" destOrd="0" parTransId="{73392719-47A3-46D0-8099-4BC0BFC03BE0}" sibTransId="{CF595A0F-5E2F-481E-BC1C-F72D8FCAA86E}"/>
    <dgm:cxn modelId="{04454E6C-E884-46CB-9CCF-2E2F2D3FB9F6}" srcId="{E703F577-2E97-4397-BEA7-152B0EC28BCD}" destId="{9F3EB64E-05E0-4479-A953-90556E4CABAF}" srcOrd="4" destOrd="0" parTransId="{B8775462-6B8E-400C-843C-4573DD7BF324}" sibTransId="{855BBC3E-01A5-4D1B-A446-3E520783AFA8}"/>
    <dgm:cxn modelId="{B4017058-4813-4220-A449-84AB1D3BB1B2}" srcId="{E703F577-2E97-4397-BEA7-152B0EC28BCD}" destId="{609B90D9-834A-4469-9364-C56F00C8BCB1}" srcOrd="0" destOrd="0" parTransId="{EE54CA25-59B6-4DE3-A663-6C5DCA9A2314}" sibTransId="{8DDCCB6D-3E9D-4BC8-B09E-50283D4C4A16}"/>
    <dgm:cxn modelId="{2A6D8092-9CF8-47EF-9AE3-0FE0D36FCB9D}" type="presOf" srcId="{609B90D9-834A-4469-9364-C56F00C8BCB1}" destId="{9846B95F-7042-44C1-9C12-D2BA08910983}" srcOrd="0" destOrd="0" presId="urn:microsoft.com/office/officeart/2005/8/layout/chevron1"/>
    <dgm:cxn modelId="{4ED4BCBB-942A-44B2-B74E-06D194EC3BC0}" srcId="{E703F577-2E97-4397-BEA7-152B0EC28BCD}" destId="{D2F8A30B-C344-42AD-BB82-C086163527C8}" srcOrd="1" destOrd="0" parTransId="{09D02A19-8A44-47B7-BA3C-AAD42BAB3259}" sibTransId="{7FC0C405-F8FC-488D-A416-FCDE67D2ADFD}"/>
    <dgm:cxn modelId="{72BD99C0-0FF7-4671-B66D-F455F6C51815}" srcId="{E703F577-2E97-4397-BEA7-152B0EC28BCD}" destId="{9AA5EDB1-1732-474E-AB54-C3F1A2CAE3DD}" srcOrd="2" destOrd="0" parTransId="{5A5D7F50-BCEA-4C7C-9A6D-C37C99088AB2}" sibTransId="{775B42D7-41CB-4B87-982E-2C9C3C924ABC}"/>
    <dgm:cxn modelId="{666F71D2-391E-4C93-8CE1-1590D547E271}" type="presOf" srcId="{D2F8A30B-C344-42AD-BB82-C086163527C8}" destId="{9D050D64-DC14-45DF-BEB5-CCCCBF8ADB5C}" srcOrd="0" destOrd="0" presId="urn:microsoft.com/office/officeart/2005/8/layout/chevron1"/>
    <dgm:cxn modelId="{DF64A5EC-FEF8-48C1-A48F-C749A54B7AE1}" type="presOf" srcId="{9AA5EDB1-1732-474E-AB54-C3F1A2CAE3DD}" destId="{3669C547-4D3D-4342-8716-A6F850EC2BD7}" srcOrd="0" destOrd="0" presId="urn:microsoft.com/office/officeart/2005/8/layout/chevron1"/>
    <dgm:cxn modelId="{AAA07AF2-754E-4586-BC41-7FFE9C2A7F06}" type="presOf" srcId="{E703F577-2E97-4397-BEA7-152B0EC28BCD}" destId="{036B8D95-ED75-4047-B420-DC1AA2EAB775}" srcOrd="0" destOrd="0" presId="urn:microsoft.com/office/officeart/2005/8/layout/chevron1"/>
    <dgm:cxn modelId="{4502B752-63F7-4BC3-8865-D49AC4E60A68}" type="presParOf" srcId="{036B8D95-ED75-4047-B420-DC1AA2EAB775}" destId="{9846B95F-7042-44C1-9C12-D2BA08910983}" srcOrd="0" destOrd="0" presId="urn:microsoft.com/office/officeart/2005/8/layout/chevron1"/>
    <dgm:cxn modelId="{16F71787-64F7-4E75-94A4-D0EDE75847EE}" type="presParOf" srcId="{036B8D95-ED75-4047-B420-DC1AA2EAB775}" destId="{6F753C01-F163-47EF-B62E-DCCBCE851046}" srcOrd="1" destOrd="0" presId="urn:microsoft.com/office/officeart/2005/8/layout/chevron1"/>
    <dgm:cxn modelId="{1F1445AC-B08D-4724-AD7A-A0DD1A918FAA}" type="presParOf" srcId="{036B8D95-ED75-4047-B420-DC1AA2EAB775}" destId="{9D050D64-DC14-45DF-BEB5-CCCCBF8ADB5C}" srcOrd="2" destOrd="0" presId="urn:microsoft.com/office/officeart/2005/8/layout/chevron1"/>
    <dgm:cxn modelId="{A7F0FB49-0C30-400D-BD52-FC05FF3C91A3}" type="presParOf" srcId="{036B8D95-ED75-4047-B420-DC1AA2EAB775}" destId="{0CF7B777-95A6-4E6C-9194-B6E044928939}" srcOrd="3" destOrd="0" presId="urn:microsoft.com/office/officeart/2005/8/layout/chevron1"/>
    <dgm:cxn modelId="{B817A047-8AA8-4602-97BB-6580EBE35C71}" type="presParOf" srcId="{036B8D95-ED75-4047-B420-DC1AA2EAB775}" destId="{3669C547-4D3D-4342-8716-A6F850EC2BD7}" srcOrd="4" destOrd="0" presId="urn:microsoft.com/office/officeart/2005/8/layout/chevron1"/>
    <dgm:cxn modelId="{D93C2BBE-2D61-4CD4-9ADC-46EB63F883A5}" type="presParOf" srcId="{036B8D95-ED75-4047-B420-DC1AA2EAB775}" destId="{52D477A6-5A71-4603-BC7A-2990C600A431}" srcOrd="5" destOrd="0" presId="urn:microsoft.com/office/officeart/2005/8/layout/chevron1"/>
    <dgm:cxn modelId="{6F58C537-83DB-461D-B4EF-C847F9985A77}" type="presParOf" srcId="{036B8D95-ED75-4047-B420-DC1AA2EAB775}" destId="{9C6F727E-852E-44D2-AF6F-7FB84C799472}" srcOrd="6" destOrd="0" presId="urn:microsoft.com/office/officeart/2005/8/layout/chevron1"/>
    <dgm:cxn modelId="{DA6F48F7-17BB-445E-A0B9-4F232E6DFBC5}" type="presParOf" srcId="{036B8D95-ED75-4047-B420-DC1AA2EAB775}" destId="{D8D2DB18-0E7B-4A6F-BE17-9C551FBBFE64}" srcOrd="7" destOrd="0" presId="urn:microsoft.com/office/officeart/2005/8/layout/chevron1"/>
    <dgm:cxn modelId="{16D86A2E-FECE-4998-8783-7E80C3741B74}" type="presParOf" srcId="{036B8D95-ED75-4047-B420-DC1AA2EAB775}" destId="{1D6A4FF4-06DD-43B6-8BA0-F9D612EFE370}"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A8F7D-963A-4BB5-A6D6-45C92AB32C5E}">
      <dsp:nvSpPr>
        <dsp:cNvPr id="0" name=""/>
        <dsp:cNvSpPr/>
      </dsp:nvSpPr>
      <dsp:spPr>
        <a:xfrm>
          <a:off x="198" y="316816"/>
          <a:ext cx="3394228" cy="1718694"/>
        </a:xfrm>
        <a:prstGeom prst="rect">
          <a:avLst/>
        </a:prstGeom>
        <a:solidFill>
          <a:schemeClr val="accent1">
            <a:lumMod val="20000"/>
            <a:lumOff val="8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accent1"/>
              </a:solidFill>
              <a:latin typeface="Arial" panose="020B0604020202020204" pitchFamily="34" charset="0"/>
              <a:cs typeface="Arial" panose="020B0604020202020204" pitchFamily="34" charset="0"/>
            </a:rPr>
            <a:t>Unmatched Power Availability &amp; Reliability</a:t>
          </a:r>
        </a:p>
        <a:p>
          <a:pPr marL="0" lvl="0" indent="0" algn="l" defTabSz="533400">
            <a:lnSpc>
              <a:spcPct val="90000"/>
            </a:lnSpc>
            <a:spcBef>
              <a:spcPct val="0"/>
            </a:spcBef>
            <a:spcAft>
              <a:spcPct val="35000"/>
            </a:spcAft>
            <a:buNone/>
          </a:pPr>
          <a:endParaRPr lang="en-US" sz="1200" b="1" kern="1200" noProof="0">
            <a:solidFill>
              <a:schemeClr val="accent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kern="1200" noProof="0">
              <a:solidFill>
                <a:schemeClr val="accent1"/>
              </a:solidFill>
              <a:latin typeface="Arial" panose="020B0604020202020204" pitchFamily="34" charset="0"/>
              <a:cs typeface="Arial" panose="020B0604020202020204" pitchFamily="34" charset="0"/>
            </a:rPr>
            <a:t>Northern Virginia offers ready access to 100–300+ MW of power with proven grid reliability, reducing delays and uncertainty for hyperscalers.</a:t>
          </a:r>
        </a:p>
      </dsp:txBody>
      <dsp:txXfrm>
        <a:off x="198" y="316816"/>
        <a:ext cx="3394228" cy="1718694"/>
      </dsp:txXfrm>
    </dsp:sp>
    <dsp:sp modelId="{89261C5F-10AA-4AB1-A8B3-A7090452DAA1}">
      <dsp:nvSpPr>
        <dsp:cNvPr id="0" name=""/>
        <dsp:cNvSpPr/>
      </dsp:nvSpPr>
      <dsp:spPr>
        <a:xfrm>
          <a:off x="3774903" y="293782"/>
          <a:ext cx="3394228" cy="1718694"/>
        </a:xfrm>
        <a:prstGeom prst="rect">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accent1"/>
              </a:solidFill>
              <a:latin typeface="Arial" panose="020B0604020202020204" pitchFamily="34" charset="0"/>
              <a:cs typeface="Arial" panose="020B0604020202020204" pitchFamily="34" charset="0"/>
            </a:rPr>
            <a:t>Superior Fiber Connectivity</a:t>
          </a:r>
        </a:p>
        <a:p>
          <a:pPr marL="0" lvl="0" indent="0" algn="l" defTabSz="533400">
            <a:lnSpc>
              <a:spcPct val="90000"/>
            </a:lnSpc>
            <a:spcBef>
              <a:spcPct val="0"/>
            </a:spcBef>
            <a:spcAft>
              <a:spcPct val="35000"/>
            </a:spcAft>
            <a:buNone/>
          </a:pPr>
          <a:endParaRPr lang="en-US" sz="1200" b="1" kern="1200" noProof="0">
            <a:solidFill>
              <a:schemeClr val="accent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kern="1200" noProof="0">
              <a:solidFill>
                <a:schemeClr val="accent1"/>
              </a:solidFill>
              <a:latin typeface="Arial" panose="020B0604020202020204" pitchFamily="34" charset="0"/>
              <a:cs typeface="Arial" panose="020B0604020202020204" pitchFamily="34" charset="0"/>
            </a:rPr>
            <a:t>Ashburn, VA is the world’s top internet exchange point with dense dark fiber and direct global routing—critical for latency-sensitive workloads.</a:t>
          </a:r>
        </a:p>
      </dsp:txBody>
      <dsp:txXfrm>
        <a:off x="3774903" y="293782"/>
        <a:ext cx="3394228" cy="1718694"/>
      </dsp:txXfrm>
    </dsp:sp>
    <dsp:sp modelId="{B7853519-76B1-4875-8EDC-52E4A12C0E5D}">
      <dsp:nvSpPr>
        <dsp:cNvPr id="0" name=""/>
        <dsp:cNvSpPr/>
      </dsp:nvSpPr>
      <dsp:spPr>
        <a:xfrm>
          <a:off x="7549607" y="316816"/>
          <a:ext cx="3394228" cy="1718694"/>
        </a:xfrm>
        <a:prstGeom prst="rect">
          <a:avLst/>
        </a:prstGeom>
        <a:solidFill>
          <a:schemeClr val="accent2">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accent1"/>
              </a:solidFill>
              <a:latin typeface="Arial" panose="020B0604020202020204" pitchFamily="34" charset="0"/>
              <a:cs typeface="Arial" panose="020B0604020202020204" pitchFamily="34" charset="0"/>
            </a:rPr>
            <a:t>Incentives and Policy Support</a:t>
          </a:r>
        </a:p>
        <a:p>
          <a:pPr marL="0" lvl="0" indent="0" algn="l" defTabSz="533400">
            <a:lnSpc>
              <a:spcPct val="90000"/>
            </a:lnSpc>
            <a:spcBef>
              <a:spcPct val="0"/>
            </a:spcBef>
            <a:spcAft>
              <a:spcPct val="35000"/>
            </a:spcAft>
            <a:buNone/>
          </a:pPr>
          <a:endParaRPr lang="en-US" sz="1200" b="1" kern="1200" noProof="0">
            <a:solidFill>
              <a:schemeClr val="accent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kern="1200" noProof="0">
              <a:solidFill>
                <a:schemeClr val="accent1"/>
              </a:solidFill>
              <a:latin typeface="Arial" panose="020B0604020202020204" pitchFamily="34" charset="0"/>
              <a:cs typeface="Arial" panose="020B0604020202020204" pitchFamily="34" charset="0"/>
            </a:rPr>
            <a:t>Virginia offers targeted tax breaks on equipment and electricity use, making long-term operations significantly cheaper for data center tenants.</a:t>
          </a:r>
        </a:p>
      </dsp:txBody>
      <dsp:txXfrm>
        <a:off x="7549607" y="316816"/>
        <a:ext cx="3394228" cy="1718694"/>
      </dsp:txXfrm>
    </dsp:sp>
    <dsp:sp modelId="{70CBCD01-BA65-4F17-9749-73B4EAB05154}">
      <dsp:nvSpPr>
        <dsp:cNvPr id="0" name=""/>
        <dsp:cNvSpPr/>
      </dsp:nvSpPr>
      <dsp:spPr>
        <a:xfrm>
          <a:off x="1887551" y="2415987"/>
          <a:ext cx="3394228" cy="1718694"/>
        </a:xfrm>
        <a:prstGeom prst="rect">
          <a:avLst/>
        </a:prstGeom>
        <a:solidFill>
          <a:schemeClr val="accent3">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accent1"/>
              </a:solidFill>
              <a:latin typeface="Arial" panose="020B0604020202020204" pitchFamily="34" charset="0"/>
              <a:cs typeface="Arial" panose="020B0604020202020204" pitchFamily="34" charset="0"/>
            </a:rPr>
            <a:t>Workforce Specialization</a:t>
          </a:r>
        </a:p>
        <a:p>
          <a:pPr marL="0" lvl="0" indent="0" algn="ctr" defTabSz="533400">
            <a:lnSpc>
              <a:spcPct val="90000"/>
            </a:lnSpc>
            <a:spcBef>
              <a:spcPct val="0"/>
            </a:spcBef>
            <a:spcAft>
              <a:spcPct val="35000"/>
            </a:spcAft>
            <a:buNone/>
          </a:pPr>
          <a:endParaRPr lang="en-US" sz="1200" b="1" kern="1200" noProof="0">
            <a:solidFill>
              <a:schemeClr val="accent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kern="1200" noProof="0" err="1">
              <a:solidFill>
                <a:schemeClr val="accent1"/>
              </a:solidFill>
              <a:latin typeface="Arial" panose="020B0604020202020204" pitchFamily="34" charset="0"/>
              <a:cs typeface="Arial" panose="020B0604020202020204" pitchFamily="34" charset="0"/>
            </a:rPr>
            <a:t>NoVA</a:t>
          </a:r>
          <a:r>
            <a:rPr lang="en-US" sz="1200" kern="1200" noProof="0">
              <a:solidFill>
                <a:schemeClr val="accent1"/>
              </a:solidFill>
              <a:latin typeface="Arial" panose="020B0604020202020204" pitchFamily="34" charset="0"/>
              <a:cs typeface="Arial" panose="020B0604020202020204" pitchFamily="34" charset="0"/>
            </a:rPr>
            <a:t> boasts a large, experienced talent pool in cloud infrastructure and operations, reducing staffing risks for hyperscale builds.</a:t>
          </a:r>
        </a:p>
      </dsp:txBody>
      <dsp:txXfrm>
        <a:off x="1887551" y="2415987"/>
        <a:ext cx="3394228" cy="1718694"/>
      </dsp:txXfrm>
    </dsp:sp>
    <dsp:sp modelId="{821366CE-C3F3-44FE-B117-41543F71724C}">
      <dsp:nvSpPr>
        <dsp:cNvPr id="0" name=""/>
        <dsp:cNvSpPr/>
      </dsp:nvSpPr>
      <dsp:spPr>
        <a:xfrm>
          <a:off x="5662255" y="2415987"/>
          <a:ext cx="3394228" cy="1718694"/>
        </a:xfrm>
        <a:prstGeom prst="rect">
          <a:avLst/>
        </a:prstGeom>
        <a:solidFill>
          <a:schemeClr val="accent4">
            <a:lumMod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accent1"/>
              </a:solidFill>
              <a:latin typeface="Arial" panose="020B0604020202020204" pitchFamily="34" charset="0"/>
              <a:cs typeface="Arial" panose="020B0604020202020204" pitchFamily="34" charset="0"/>
            </a:rPr>
            <a:t>Risk Aversion &amp; Brand Preference</a:t>
          </a:r>
        </a:p>
        <a:p>
          <a:pPr marL="0" lvl="0" indent="0" algn="ctr" defTabSz="533400">
            <a:lnSpc>
              <a:spcPct val="90000"/>
            </a:lnSpc>
            <a:spcBef>
              <a:spcPct val="0"/>
            </a:spcBef>
            <a:spcAft>
              <a:spcPct val="35000"/>
            </a:spcAft>
            <a:buNone/>
          </a:pPr>
          <a:endParaRPr lang="en-US" sz="1200" b="1" kern="1200" noProof="0">
            <a:solidFill>
              <a:schemeClr val="accent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kern="1200" noProof="0">
              <a:solidFill>
                <a:schemeClr val="accent1"/>
              </a:solidFill>
              <a:latin typeface="Arial" panose="020B0604020202020204" pitchFamily="34" charset="0"/>
              <a:cs typeface="Arial" panose="020B0604020202020204" pitchFamily="34" charset="0"/>
            </a:rPr>
            <a:t>Hyperscalers prefer expanding in </a:t>
          </a:r>
          <a:r>
            <a:rPr lang="en-US" sz="1200" kern="1200" noProof="0" err="1">
              <a:solidFill>
                <a:schemeClr val="accent1"/>
              </a:solidFill>
              <a:latin typeface="Arial" panose="020B0604020202020204" pitchFamily="34" charset="0"/>
              <a:cs typeface="Arial" panose="020B0604020202020204" pitchFamily="34" charset="0"/>
            </a:rPr>
            <a:t>NoVA</a:t>
          </a:r>
          <a:r>
            <a:rPr lang="en-US" sz="1200" kern="1200" noProof="0">
              <a:solidFill>
                <a:schemeClr val="accent1"/>
              </a:solidFill>
              <a:latin typeface="Arial" panose="020B0604020202020204" pitchFamily="34" charset="0"/>
              <a:cs typeface="Arial" panose="020B0604020202020204" pitchFamily="34" charset="0"/>
            </a:rPr>
            <a:t> due to existing investments, proven suppliers, and reduced operational risk compared to newer markets like Pittsburgh.</a:t>
          </a:r>
        </a:p>
      </dsp:txBody>
      <dsp:txXfrm>
        <a:off x="5662255" y="2415987"/>
        <a:ext cx="3394228" cy="171869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SWOT Analysi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6B95F-7042-44C1-9C12-D2BA08910983}">
      <dsp:nvSpPr>
        <dsp:cNvPr id="0" name=""/>
        <dsp:cNvSpPr/>
      </dsp:nvSpPr>
      <dsp:spPr>
        <a:xfrm>
          <a:off x="1565"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Executive Summary</a:t>
          </a:r>
        </a:p>
      </dsp:txBody>
      <dsp:txXfrm>
        <a:off x="174985" y="0"/>
        <a:ext cx="1046829" cy="346839"/>
      </dsp:txXfrm>
    </dsp:sp>
    <dsp:sp modelId="{9D050D64-DC14-45DF-BEB5-CCCCBF8ADB5C}">
      <dsp:nvSpPr>
        <dsp:cNvPr id="0" name=""/>
        <dsp:cNvSpPr/>
      </dsp:nvSpPr>
      <dsp:spPr>
        <a:xfrm>
          <a:off x="1255867"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 Research</a:t>
          </a:r>
        </a:p>
      </dsp:txBody>
      <dsp:txXfrm>
        <a:off x="1429287" y="0"/>
        <a:ext cx="1046829" cy="346839"/>
      </dsp:txXfrm>
    </dsp:sp>
    <dsp:sp modelId="{3669C547-4D3D-4342-8716-A6F850EC2BD7}">
      <dsp:nvSpPr>
        <dsp:cNvPr id="0" name=""/>
        <dsp:cNvSpPr/>
      </dsp:nvSpPr>
      <dsp:spPr>
        <a:xfrm>
          <a:off x="2510168" y="0"/>
          <a:ext cx="1393668" cy="34683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Key Insights</a:t>
          </a:r>
        </a:p>
      </dsp:txBody>
      <dsp:txXfrm>
        <a:off x="2683588" y="0"/>
        <a:ext cx="1046829" cy="346839"/>
      </dsp:txXfrm>
    </dsp:sp>
    <dsp:sp modelId="{9C6F727E-852E-44D2-AF6F-7FB84C799472}">
      <dsp:nvSpPr>
        <dsp:cNvPr id="0" name=""/>
        <dsp:cNvSpPr/>
      </dsp:nvSpPr>
      <dsp:spPr>
        <a:xfrm>
          <a:off x="3764469"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Marketing</a:t>
          </a:r>
        </a:p>
      </dsp:txBody>
      <dsp:txXfrm>
        <a:off x="3937889" y="0"/>
        <a:ext cx="1046829" cy="346839"/>
      </dsp:txXfrm>
    </dsp:sp>
    <dsp:sp modelId="{1D6A4FF4-06DD-43B6-8BA0-F9D612EFE370}">
      <dsp:nvSpPr>
        <dsp:cNvPr id="0" name=""/>
        <dsp:cNvSpPr/>
      </dsp:nvSpPr>
      <dsp:spPr>
        <a:xfrm>
          <a:off x="5018771" y="0"/>
          <a:ext cx="1393668" cy="346839"/>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US" sz="900" kern="1200" noProof="0">
              <a:latin typeface="Arial" panose="020B0604020202020204" pitchFamily="34" charset="0"/>
              <a:cs typeface="Arial" panose="020B0604020202020204" pitchFamily="34" charset="0"/>
            </a:rPr>
            <a:t>Recommendations</a:t>
          </a:r>
        </a:p>
      </dsp:txBody>
      <dsp:txXfrm>
        <a:off x="5192191" y="0"/>
        <a:ext cx="1046829" cy="34683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1-06T20:36:49.42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20 138,'563'0,"-542"-2,-1 0,0-2,1 0,29-12,-23 8,-10 3,2 0,-1 0,0 2,1 1,21-1,11 3,-77-2,-1-2,-25-7,20 3,-58-5,-26-6,52 9,48 6,-1 1,-21-1,30 4,0 0,0 0,0 1,0 0,0 1,0-1,0 1,0 1,0 0,1 0,0 0,-1 1,1 0,1 0,-1 1,1 0,-1 0,1 1,1 0,-10 10,-2 5,1 1,0 1,-20 40,17-31,-3 10,21-41,1 1,-1 0,1-1,-1 1,0-1,0 0,0 1,1-1,-1 0,-1 0,1 1,0-1,-2 2,2-3,0 0,1 0,-1 1,1-1,-1 0,0 0,1 0,-1 0,0 0,1 0,-1 0,1 0,-1 0,0 0,1 0,-1-1,1 1,-1 0,0 0,1-1,-1 1,1 0,-1-1,0 1,-3-5,-1 1,1-1,0 0,1 1,-7-12,-4-5,14 21,-1 0,1 0,0 0,0 0,0 0,0 0,0 0,0-1,0 1,0 0,0 0,-1 0,1 0,0 0,0 0,0 0,0 0,0 0,0 0,0 0,-1 0,1 0,0 0,0 0,0 0,0 0,0 0,0 0,0 0,0 1,-1-1,1 0,0 0,0 0,0 0,0 0,0 0,0 0,0 0,0 0,0 0,0 0,0 1,0-1,-1 0,1 0,0 0,0 0,0 0,0 0,0 0,0 1,-2 9,0 10,-5 26,5-40,0 0,1 0,0 0,0 1,0-1,1 0,0 0,0 0,3 11,-3-15,1 0,0 0,1-1,-1 1,0-1,0 1,1-1,-1 1,1-1,-1 0,1 1,-1-1,1 0,0 0,0 0,0-1,2 2,40 11,-22-7,-3-1,0 0,0-1,0-1,27 0,80-4,-45-1,-65 2,11 1,0-2,-1-1,40-7,-53 6,-1 0,0 0,0-1,0-1,0 0,-1 0,22-14,68-48,-100 67,0 0,-1-1,1 1,0-1,-1 1,1-1,0 1,-1-1,1 0,0 1,-1-1,1 0,-1 1,1-1,-1 0,0 0,1 1,-1-1,0 0,0 0,1 0,-1-1,0 1,-1 0,1 1,0-1,-1 0,1 1,-1-1,1 0,-1 1,1-1,-1 0,1 1,-1-1,1 1,-1-1,0 1,0-1,1 1,-1 0,-1-1,-6-3,-1 1,0 1,-13-3,14 4,-5-2,0 0,0 2,0 0,0 0,-17 2,23 0,0 0,1 0,-1 1,0 0,1 0,-1 0,1 1,0 0,0 1,0-1,-9 8,3-1,1 1,0 0,1 0,0 1,1 0,1 1,-1 0,-8 20,14-23,0 1,1-1,0 0,0 1,1-1,0 13,6 63,-4-81,0 1,0-1,0 1,1-1,-1 0,1 1,1-1,-1 0,1 0,-1-1,1 1,1 0,-1-1,1 0,0 0,0 0,7 5,-6-5,1-1,-1 0,1 0,0-1,0 1,1-1,-1-1,0 1,0-1,1 0,-1 0,1-1,-1 0,12-1,-13-1,1 0,0 0,0-1,-1 1,1-1,-1-1,0 1,0-1,0 0,-1 0,6-5,3-2,19-25,-6 7,-8 11,28-40,-15 18,-28 36,0-1,0 0,-1 1,0-1,0 0,0 0,1-5,-1 3,0 1,0 0,1 0,3-7,1-1,-1 0,0-1,-2 0,1 0,-2 0,3-30,-5 41,0 1,-1-1,1 0,-1 1,0-1,0 0,0 1,0-1,-1 0,1 1,-1-1,0 1,-3-7,3 8,-1 0,1 0,-1 1,1-1,-1 1,0-1,0 1,0-1,0 1,0 0,0 0,0 0,0 0,-1 1,1-1,0 0,0 1,-1 0,1-1,0 1,-4 0,-2 0,0 0,-1 0,1 0,0 1,0 0,0 1,0 0,0 0,0 0,1 1,-1 1,1-1,0 1,0 0,0 1,0-1,1 2,-1-1,2 0,-1 1,-6 8,8-9,0 0,1 0,0 1,0-1,-4 11,6-15,1 1,0-1,-1 0,1 1,0-1,0 1,0-1,0 0,0 1,0-1,0 1,1-1,-1 0,1 1,-1-1,1 0,-1 1,1-1,-1 0,1 0,0 0,0 0,0 1,0-1,0 0,0 0,0-1,0 1,0 0,0 0,2 0,17 13,-13-9,0 0,1-1,11 6,-16-9,0 0,1 0,-1 0,1 0,0-1,-1 0,1 1,-1-1,1-1,-1 1,1 0,3-2,-2 1,1-1,-1 0,0 0,0-1,0 1,0-1,0 0,0 0,-1-1,0 1,8-9,-5 4,-1 0,0 0,-1 0,0-1,8-17,-13 25,1 0,-1 1,0-1,1 0,-1 1,0-1,0 0,0 0,0 1,0-1,0 0,0 1,0-1,0 0,0 0,0 1,0-1,0 0,-1 0,1 1,0-1,-1 0,1 1,0-1,-1 1,1-1,-1 0,1 1,-1-1,1 1,-1-1,1 1,-1-1,1 1,-1 0,0-1,1 1,-1 0,0-1,1 1,-1 0,0 0,0 0,1 0,-2-1,0 1,0 0,0 0,0 0,0 0,0 0,1 0,-1 0,0 0,0 1,0-1,1 1,-1-1,0 1,0 0,1 0,-1 0,-2 2,2-2,1 0,-1 1,1-1,0 1,-1-1,1 1,0 0,0 0,0-1,0 1,0 0,0 0,1 0,-1 0,1 0,-1 0,1 0,0 0,0 0,0 1,0-1,0 0,0 0,1 0,-1 0,2 4,1 0,1 0,-1 1,2-1,-1-1,0 1,8 6,-7-6,1 0,-1 0,8 13,-13-17,0-1,0 0,1 0,-1 0,0 0,0 0,0 1,0-1,0 0,0 0,0 0,-1 0,1 0,0 0,-1 1,1-1,-1 0,1 0,-1 0,1 0,-1 0,0 0,1-1,-1 1,0 0,0 0,0 0,0-1,1 1,-1 0,0-1,0 1,-2 0,-6 4,1 0,-19 6,17-7,-20 9,7-2,0-2,0 0,-1-1,-43 7,52-12,-1 0,0 1,1 1,0 0,-20 11,1 2,-34 24,31-21,27-16,1 0,0 0,1 1,-1 0,1 0,-7 8,5-6,1 0,-1-1,0 0,0-1,-20 9,26-13,3-2,-1 1,1-1,-1 1,0-1,0 0,1 0,-1 0,0 0,1 0,-1 0,0 0,1 0,-1-1,0 1,1-1,-1 1,0-1,1 0,-1 1,1-1,-1 0,1 0,0 0,-1 0,1 0,0-1,-2 0,-5-7,1 0,-1 0,-5-10,2 2,-9-7,13 17,0-1,1 0,0 0,1 0,-9-18,-5-6,1 4,-71-162,88 188,0 1,1-1,-1 1,0 0,0-1,0 1,0 0,0 0,0 0,-1-1,1 1,0 0,0 1,-3-3,4 3,-1 0,1 0,0 0,0 0,-1 0,1 0,0 0,-1 0,1 0,0 0,-1 0,1 0,0 1,0-1,-1 0,1 0,0 0,0 0,-1 0,1 1,0-1,0 0,-1 0,1 0,0 1,0-1,-1 0,-4 16,3 16,1-1,3 39,0-36,-4 54,3-87,-1 0,0-1,0 1,0 0,0-1,0 1,-1 0,1-1,0 1,0 0,0-1,-1 1,1-1,0 1,0 0,-1-1,1 1,-1-1,1 1,-1-1,0 2,1-2,-1-1,1 1,-1 0,1 0,-1-1,1 1,-1 0,1-1,-1 1,1 0,0-1,-1 1,1-1,-1 1,1-1,0 1,0-1,-1 1,1-1,0 0,-16-39,13 33,-49-121,48 117,1 0,1 0,-1 0,2-1,0 1,0-1,1 1,1-13,-1 25,2 185,-2-184,1 1,-1-1,1 1,0-1,0 0,0 1,0-1,1 0,-1 0,1 0,-1 0,1 0,-1 0,1 0,0 0,0-1,0 1,0-1,0 1,4 1,6 3,0-1,24 8,-9-4,50 26,-73-33,1 0,-2 0,1 0,0 1,5 4,-5-4,-1 0,0-1,1 1,0-1,-1 0,8 3,39 12,31 9,-71-23,0 0,-1 1,13 5,24 10,-41-17,0-1,-1 2,1-1,-1 0,8 6,16 9,-11-11,-1-1,2-1,-1 0,0-1,27 1,91-4,-55-2,-57 2,-12 1,0-1,-1 0,21-4,-28 3,1 0,-1 0,0 0,0 0,1-1,-1 1,0-1,0 0,-1 0,1 0,0 0,-1-1,1 1,-1-1,0 1,3-5,6-10,0-1,-2-1,0 1,-1-2,-1 1,0-1,-2 0,4-24,-6 29,1 1,0-1,13-26,-11 29,-1-1,-1 1,1-1,-2-1,2-13,-1 5,0 0,11-31,1-5,-7 29,-4 17</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1-06T20:36:49.426"/>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57 28,'-6'-1,"-1"1,0-1,0-1,1 1,-1-1,-9-5,25 11,1-1,-1 0,15 2,-9-2,-5-2,-12-2,-20-8,4 1,-11-5,26 1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1-06T20:36:49.427"/>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0 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1-06T20:36:49.428"/>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0 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1-06T20:36:49.429"/>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1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56BBAF-EE9F-4D48-B3DA-748E4DBD4CF8}" type="datetimeFigureOut">
              <a:rPr lang="en-US" smtClean="0"/>
              <a:t>6/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688FCF-0715-2948-AC3D-C3A199CA1425}" type="slidenum">
              <a:rPr lang="en-US" smtClean="0"/>
              <a:t>‹#›</a:t>
            </a:fld>
            <a:endParaRPr lang="en-US"/>
          </a:p>
        </p:txBody>
      </p:sp>
    </p:spTree>
    <p:extLst>
      <p:ext uri="{BB962C8B-B14F-4D97-AF65-F5344CB8AC3E}">
        <p14:creationId xmlns:p14="http://schemas.microsoft.com/office/powerpoint/2010/main" val="7297023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7688FCF-0715-2948-AC3D-C3A199CA1425}" type="slidenum">
              <a:rPr lang="en-US" smtClean="0"/>
              <a:t>3</a:t>
            </a:fld>
            <a:endParaRPr lang="en-US"/>
          </a:p>
        </p:txBody>
      </p:sp>
    </p:spTree>
    <p:extLst>
      <p:ext uri="{BB962C8B-B14F-4D97-AF65-F5344CB8AC3E}">
        <p14:creationId xmlns:p14="http://schemas.microsoft.com/office/powerpoint/2010/main" val="2159282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7688FCF-0715-2948-AC3D-C3A199CA1425}" type="slidenum">
              <a:rPr lang="en-US" smtClean="0"/>
              <a:t>10</a:t>
            </a:fld>
            <a:endParaRPr lang="en-US"/>
          </a:p>
        </p:txBody>
      </p:sp>
    </p:spTree>
    <p:extLst>
      <p:ext uri="{BB962C8B-B14F-4D97-AF65-F5344CB8AC3E}">
        <p14:creationId xmlns:p14="http://schemas.microsoft.com/office/powerpoint/2010/main" val="2435618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7688FCF-0715-2948-AC3D-C3A199CA1425}" type="slidenum">
              <a:rPr lang="en-US" smtClean="0"/>
              <a:t>13</a:t>
            </a:fld>
            <a:endParaRPr lang="en-US"/>
          </a:p>
        </p:txBody>
      </p:sp>
    </p:spTree>
    <p:extLst>
      <p:ext uri="{BB962C8B-B14F-4D97-AF65-F5344CB8AC3E}">
        <p14:creationId xmlns:p14="http://schemas.microsoft.com/office/powerpoint/2010/main" val="2872421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688FCF-0715-2948-AC3D-C3A199CA1425}" type="slidenum">
              <a:rPr lang="en-US" smtClean="0"/>
              <a:t>17</a:t>
            </a:fld>
            <a:endParaRPr lang="en-US"/>
          </a:p>
        </p:txBody>
      </p:sp>
    </p:spTree>
    <p:extLst>
      <p:ext uri="{BB962C8B-B14F-4D97-AF65-F5344CB8AC3E}">
        <p14:creationId xmlns:p14="http://schemas.microsoft.com/office/powerpoint/2010/main" val="1197315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7688FCF-0715-2948-AC3D-C3A199CA1425}" type="slidenum">
              <a:rPr lang="en-US" smtClean="0"/>
              <a:t>40</a:t>
            </a:fld>
            <a:endParaRPr lang="en-US"/>
          </a:p>
        </p:txBody>
      </p:sp>
    </p:spTree>
    <p:extLst>
      <p:ext uri="{BB962C8B-B14F-4D97-AF65-F5344CB8AC3E}">
        <p14:creationId xmlns:p14="http://schemas.microsoft.com/office/powerpoint/2010/main" val="1106119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7688FCF-0715-2948-AC3D-C3A199CA1425}" type="slidenum">
              <a:rPr lang="en-US" smtClean="0"/>
              <a:t>42</a:t>
            </a:fld>
            <a:endParaRPr lang="en-US"/>
          </a:p>
        </p:txBody>
      </p:sp>
    </p:spTree>
    <p:extLst>
      <p:ext uri="{BB962C8B-B14F-4D97-AF65-F5344CB8AC3E}">
        <p14:creationId xmlns:p14="http://schemas.microsoft.com/office/powerpoint/2010/main" val="2765830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6" y="5115072"/>
            <a:ext cx="10758377"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6" y="5624358"/>
            <a:ext cx="10758377" cy="332399"/>
          </a:xfrm>
        </p:spPr>
        <p:txBody>
          <a:bodyPr wrap="square" lIns="0" tIns="0" rIns="0" bIns="0">
            <a:normAutofit/>
          </a:bodyPr>
          <a:lstStyle>
            <a:lvl1pPr marL="0" indent="0" algn="l">
              <a:buFontTx/>
              <a:buNone/>
              <a:defRPr sz="20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6932"/>
            <a:ext cx="277792" cy="63024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5957103" y="900897"/>
            <a:ext cx="277792" cy="116364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4206" y="6580206"/>
            <a:ext cx="277794" cy="2777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6" y="1953809"/>
            <a:ext cx="10757719" cy="249299"/>
          </a:xfrm>
        </p:spPr>
        <p:txBody>
          <a:bodyPr wrap="square" lIns="0" tIns="0" rIns="0" bIns="0">
            <a:noAutofit/>
          </a:bodyPr>
          <a:lstStyle>
            <a:lvl1pPr marL="0" indent="0" algn="l">
              <a:buFontTx/>
              <a:buNone/>
              <a:defRPr sz="16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2485674"/>
            <a:ext cx="10757719" cy="1666936"/>
          </a:xfrm>
        </p:spPr>
        <p:txBody>
          <a:bodyPr lIns="0" rIns="0">
            <a:normAutofit/>
          </a:bodyPr>
          <a:lstStyle>
            <a:lvl1pPr marL="0" indent="0" algn="l">
              <a:lnSpc>
                <a:spcPts val="5600"/>
              </a:lnSpc>
              <a:buFontTx/>
              <a:buNone/>
              <a:defRPr sz="6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White Title Slide </a:t>
            </a:r>
            <a:br>
              <a:rPr lang="en-US"/>
            </a:br>
            <a:r>
              <a:rPr lang="en-US"/>
              <a:t>without Photo</a:t>
            </a:r>
          </a:p>
        </p:txBody>
      </p:sp>
      <p:pic>
        <p:nvPicPr>
          <p:cNvPr id="15" name="Picture 14">
            <a:extLst>
              <a:ext uri="{FF2B5EF4-FFF2-40B4-BE49-F238E27FC236}">
                <a16:creationId xmlns:a16="http://schemas.microsoft.com/office/drawing/2014/main" id="{32194554-1D04-2814-ACCE-E31F08852668}"/>
              </a:ext>
            </a:extLst>
          </p:cNvPr>
          <p:cNvPicPr>
            <a:picLocks noChangeAspect="1"/>
          </p:cNvPicPr>
          <p:nvPr userDrawn="1"/>
        </p:nvPicPr>
        <p:blipFill>
          <a:blip r:embed="rId2"/>
          <a:srcRect/>
          <a:stretch/>
        </p:blipFill>
        <p:spPr>
          <a:xfrm>
            <a:off x="9342689" y="362275"/>
            <a:ext cx="2407715" cy="748649"/>
          </a:xfrm>
          <a:prstGeom prst="rect">
            <a:avLst/>
          </a:prstGeom>
        </p:spPr>
      </p:pic>
      <p:pic>
        <p:nvPicPr>
          <p:cNvPr id="3" name="Picture 2" descr="A blue and white checkered flag&#10;&#10;Description automatically generated">
            <a:extLst>
              <a:ext uri="{FF2B5EF4-FFF2-40B4-BE49-F238E27FC236}">
                <a16:creationId xmlns:a16="http://schemas.microsoft.com/office/drawing/2014/main" id="{5572CAAC-985E-752C-1E01-B4A774734E42}"/>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4" name="Picture 3" descr="A yellow and white squares&#10;&#10;Description automatically generated">
            <a:extLst>
              <a:ext uri="{FF2B5EF4-FFF2-40B4-BE49-F238E27FC236}">
                <a16:creationId xmlns:a16="http://schemas.microsoft.com/office/drawing/2014/main" id="{C8BFE035-9704-9876-E1C5-D6B7632A8194}"/>
              </a:ext>
            </a:extLst>
          </p:cNvPr>
          <p:cNvPicPr>
            <a:picLocks noChangeAspect="1"/>
          </p:cNvPicPr>
          <p:nvPr userDrawn="1"/>
        </p:nvPicPr>
        <p:blipFill>
          <a:blip r:embed="rId4"/>
          <a:stretch>
            <a:fillRect/>
          </a:stretch>
        </p:blipFill>
        <p:spPr>
          <a:xfrm>
            <a:off x="11795313" y="6183518"/>
            <a:ext cx="396687" cy="396687"/>
          </a:xfrm>
          <a:prstGeom prst="rect">
            <a:avLst/>
          </a:prstGeom>
        </p:spPr>
      </p:pic>
    </p:spTree>
    <p:extLst>
      <p:ext uri="{BB962C8B-B14F-4D97-AF65-F5344CB8AC3E}">
        <p14:creationId xmlns:p14="http://schemas.microsoft.com/office/powerpoint/2010/main" val="22048964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ng Title and Bullet Single Column">
    <p:bg>
      <p:bgPr>
        <a:solidFill>
          <a:schemeClr val="bg1"/>
        </a:solidFill>
        <a:effectLst/>
      </p:bgPr>
    </p:bg>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2064779"/>
            <a:ext cx="10758375" cy="3823690"/>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2" name="Text Placeholder 8">
            <a:extLst>
              <a:ext uri="{FF2B5EF4-FFF2-40B4-BE49-F238E27FC236}">
                <a16:creationId xmlns:a16="http://schemas.microsoft.com/office/drawing/2014/main" id="{83383223-7F09-6DDE-2C8B-58D6AB182643}"/>
              </a:ext>
            </a:extLst>
          </p:cNvPr>
          <p:cNvSpPr>
            <a:spLocks noGrp="1"/>
          </p:cNvSpPr>
          <p:nvPr>
            <p:ph type="body" sz="quarter" idx="16" hasCustomPrompt="1"/>
          </p:nvPr>
        </p:nvSpPr>
        <p:spPr>
          <a:xfrm>
            <a:off x="992355" y="476789"/>
            <a:ext cx="10757717" cy="126270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Long Title on two lines and </a:t>
            </a:r>
            <a:br>
              <a:rPr lang="en-US"/>
            </a:br>
            <a:r>
              <a:rPr lang="en-US"/>
              <a:t>Bullet Single Column</a:t>
            </a:r>
          </a:p>
        </p:txBody>
      </p:sp>
      <p:pic>
        <p:nvPicPr>
          <p:cNvPr id="4" name="Picture 3" descr="A blue and white checkered flag&#10;&#10;Description automatically generated">
            <a:extLst>
              <a:ext uri="{FF2B5EF4-FFF2-40B4-BE49-F238E27FC236}">
                <a16:creationId xmlns:a16="http://schemas.microsoft.com/office/drawing/2014/main" id="{3AA0380C-E8E8-C0F3-EDF9-9F683F6E6D93}"/>
              </a:ext>
            </a:extLst>
          </p:cNvPr>
          <p:cNvPicPr>
            <a:picLocks noChangeAspect="1"/>
          </p:cNvPicPr>
          <p:nvPr userDrawn="1"/>
        </p:nvPicPr>
        <p:blipFill>
          <a:blip r:embed="rId2"/>
          <a:stretch>
            <a:fillRect/>
          </a:stretch>
        </p:blipFill>
        <p:spPr>
          <a:xfrm>
            <a:off x="277792" y="0"/>
            <a:ext cx="277793" cy="277793"/>
          </a:xfrm>
          <a:prstGeom prst="rect">
            <a:avLst/>
          </a:prstGeom>
        </p:spPr>
      </p:pic>
      <p:sp>
        <p:nvSpPr>
          <p:cNvPr id="13" name="Rectangle 12">
            <a:extLst>
              <a:ext uri="{FF2B5EF4-FFF2-40B4-BE49-F238E27FC236}">
                <a16:creationId xmlns:a16="http://schemas.microsoft.com/office/drawing/2014/main" id="{5F07E24A-4E49-5599-84DB-30C2A8933834}"/>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4" name="Rectangle 13">
            <a:extLst>
              <a:ext uri="{FF2B5EF4-FFF2-40B4-BE49-F238E27FC236}">
                <a16:creationId xmlns:a16="http://schemas.microsoft.com/office/drawing/2014/main" id="{B1BF1D60-2D80-FEA5-0FE3-35D6EDB5B15A}"/>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08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 Double Column">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Double Column</a:t>
            </a:r>
          </a:p>
        </p:txBody>
      </p:sp>
      <p:cxnSp>
        <p:nvCxnSpPr>
          <p:cNvPr id="9" name="Straight Connector 8">
            <a:extLst>
              <a:ext uri="{FF2B5EF4-FFF2-40B4-BE49-F238E27FC236}">
                <a16:creationId xmlns:a16="http://schemas.microsoft.com/office/drawing/2014/main" id="{2369C924-E29C-B20D-EB95-74627AA1B15B}"/>
              </a:ext>
            </a:extLst>
          </p:cNvPr>
          <p:cNvCxnSpPr>
            <a:cxnSpLocks/>
          </p:cNvCxnSpPr>
          <p:nvPr userDrawn="1"/>
        </p:nvCxnSpPr>
        <p:spPr>
          <a:xfrm flipV="1">
            <a:off x="6380190" y="168451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2C21A3F-5401-B65E-26AA-ED64C5DDF2C3}"/>
              </a:ext>
            </a:extLst>
          </p:cNvPr>
          <p:cNvSpPr>
            <a:spLocks noGrp="1"/>
          </p:cNvSpPr>
          <p:nvPr>
            <p:ph type="body" sz="quarter" idx="10" hasCustomPrompt="1"/>
          </p:nvPr>
        </p:nvSpPr>
        <p:spPr>
          <a:xfrm>
            <a:off x="991699" y="1668249"/>
            <a:ext cx="4929802"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14" name="Text Placeholder 3">
            <a:extLst>
              <a:ext uri="{FF2B5EF4-FFF2-40B4-BE49-F238E27FC236}">
                <a16:creationId xmlns:a16="http://schemas.microsoft.com/office/drawing/2014/main" id="{41D655C7-8571-AFB6-199A-D1CB208DDA97}"/>
              </a:ext>
            </a:extLst>
          </p:cNvPr>
          <p:cNvSpPr>
            <a:spLocks noGrp="1"/>
          </p:cNvSpPr>
          <p:nvPr>
            <p:ph type="body" sz="quarter" idx="17" hasCustomPrompt="1"/>
          </p:nvPr>
        </p:nvSpPr>
        <p:spPr>
          <a:xfrm>
            <a:off x="6816780" y="1668249"/>
            <a:ext cx="4929802"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pic>
        <p:nvPicPr>
          <p:cNvPr id="5" name="Picture 4" descr="A blue and white checkered flag&#10;&#10;Description automatically generated">
            <a:extLst>
              <a:ext uri="{FF2B5EF4-FFF2-40B4-BE49-F238E27FC236}">
                <a16:creationId xmlns:a16="http://schemas.microsoft.com/office/drawing/2014/main" id="{9C2A7353-D238-C42C-5A37-A6A4C594181D}"/>
              </a:ext>
            </a:extLst>
          </p:cNvPr>
          <p:cNvPicPr>
            <a:picLocks noChangeAspect="1"/>
          </p:cNvPicPr>
          <p:nvPr userDrawn="1"/>
        </p:nvPicPr>
        <p:blipFill>
          <a:blip r:embed="rId2"/>
          <a:stretch>
            <a:fillRect/>
          </a:stretch>
        </p:blipFill>
        <p:spPr>
          <a:xfrm>
            <a:off x="277792" y="0"/>
            <a:ext cx="277793" cy="277793"/>
          </a:xfrm>
          <a:prstGeom prst="rect">
            <a:avLst/>
          </a:prstGeom>
        </p:spPr>
      </p:pic>
      <p:sp>
        <p:nvSpPr>
          <p:cNvPr id="17" name="Rectangle 16">
            <a:extLst>
              <a:ext uri="{FF2B5EF4-FFF2-40B4-BE49-F238E27FC236}">
                <a16:creationId xmlns:a16="http://schemas.microsoft.com/office/drawing/2014/main" id="{15D30BAD-B66E-14B9-51E9-3F07B1A224E0}"/>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1CC1D99E-6DDC-46D6-51A7-59C0B288E11E}"/>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64895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 Three Column">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Three Column</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1864890"/>
            <a:ext cx="3314831"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F22FD0CD-FD04-8634-D7B8-F280B324DE97}"/>
              </a:ext>
            </a:extLst>
          </p:cNvPr>
          <p:cNvSpPr>
            <a:spLocks noGrp="1"/>
          </p:cNvSpPr>
          <p:nvPr>
            <p:ph type="body" sz="quarter" idx="17" hasCustomPrompt="1"/>
          </p:nvPr>
        </p:nvSpPr>
        <p:spPr>
          <a:xfrm>
            <a:off x="8434717" y="1864890"/>
            <a:ext cx="3314831"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4" name="Text Placeholder 3">
            <a:extLst>
              <a:ext uri="{FF2B5EF4-FFF2-40B4-BE49-F238E27FC236}">
                <a16:creationId xmlns:a16="http://schemas.microsoft.com/office/drawing/2014/main" id="{1057C0FE-2BC5-D429-70D8-1C8427B99C5F}"/>
              </a:ext>
            </a:extLst>
          </p:cNvPr>
          <p:cNvSpPr>
            <a:spLocks noGrp="1"/>
          </p:cNvSpPr>
          <p:nvPr>
            <p:ph type="body" sz="quarter" idx="18" hasCustomPrompt="1"/>
          </p:nvPr>
        </p:nvSpPr>
        <p:spPr>
          <a:xfrm>
            <a:off x="4698459" y="1864890"/>
            <a:ext cx="3314831"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cxnSp>
        <p:nvCxnSpPr>
          <p:cNvPr id="5" name="Straight Connector 4">
            <a:extLst>
              <a:ext uri="{FF2B5EF4-FFF2-40B4-BE49-F238E27FC236}">
                <a16:creationId xmlns:a16="http://schemas.microsoft.com/office/drawing/2014/main" id="{CF9D94BB-0800-CABF-5C41-80D1D663F9B7}"/>
              </a:ext>
            </a:extLst>
          </p:cNvPr>
          <p:cNvCxnSpPr>
            <a:cxnSpLocks/>
          </p:cNvCxnSpPr>
          <p:nvPr userDrawn="1"/>
        </p:nvCxnSpPr>
        <p:spPr>
          <a:xfrm flipV="1">
            <a:off x="4502228" y="188115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7F221C7-D2C2-B9E7-D88F-EEAA59389135}"/>
              </a:ext>
            </a:extLst>
          </p:cNvPr>
          <p:cNvCxnSpPr>
            <a:cxnSpLocks/>
          </p:cNvCxnSpPr>
          <p:nvPr userDrawn="1"/>
        </p:nvCxnSpPr>
        <p:spPr>
          <a:xfrm flipV="1">
            <a:off x="8218822" y="188115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F529CBE9-E801-6775-C916-FBB425AF86E4}"/>
              </a:ext>
            </a:extLst>
          </p:cNvPr>
          <p:cNvSpPr>
            <a:spLocks noGrp="1"/>
          </p:cNvSpPr>
          <p:nvPr>
            <p:ph type="body" sz="quarter" idx="22" hasCustomPrompt="1"/>
          </p:nvPr>
        </p:nvSpPr>
        <p:spPr>
          <a:xfrm>
            <a:off x="8434717" y="1510929"/>
            <a:ext cx="3314831"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9" name="Text Placeholder 3">
            <a:extLst>
              <a:ext uri="{FF2B5EF4-FFF2-40B4-BE49-F238E27FC236}">
                <a16:creationId xmlns:a16="http://schemas.microsoft.com/office/drawing/2014/main" id="{FAEC8527-411E-5E2C-A2A5-FE0BFC4B0913}"/>
              </a:ext>
            </a:extLst>
          </p:cNvPr>
          <p:cNvSpPr>
            <a:spLocks noGrp="1"/>
          </p:cNvSpPr>
          <p:nvPr>
            <p:ph type="body" sz="quarter" idx="24" hasCustomPrompt="1"/>
          </p:nvPr>
        </p:nvSpPr>
        <p:spPr>
          <a:xfrm>
            <a:off x="991699" y="1510929"/>
            <a:ext cx="3314830"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10" name="Text Placeholder 3">
            <a:extLst>
              <a:ext uri="{FF2B5EF4-FFF2-40B4-BE49-F238E27FC236}">
                <a16:creationId xmlns:a16="http://schemas.microsoft.com/office/drawing/2014/main" id="{FD510753-FC6C-D6C7-BD56-236A18A158EF}"/>
              </a:ext>
            </a:extLst>
          </p:cNvPr>
          <p:cNvSpPr>
            <a:spLocks noGrp="1"/>
          </p:cNvSpPr>
          <p:nvPr>
            <p:ph type="body" sz="quarter" idx="25" hasCustomPrompt="1"/>
          </p:nvPr>
        </p:nvSpPr>
        <p:spPr>
          <a:xfrm>
            <a:off x="4698459" y="1510929"/>
            <a:ext cx="3314831"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2" name="Slide Number Placeholder 4">
            <a:extLst>
              <a:ext uri="{FF2B5EF4-FFF2-40B4-BE49-F238E27FC236}">
                <a16:creationId xmlns:a16="http://schemas.microsoft.com/office/drawing/2014/main" id="{32F433CF-6D20-93B3-2EED-7B484C355CA8}"/>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12" name="Picture 11" descr="A blue and white checkered flag&#10;&#10;Description automatically generated">
            <a:extLst>
              <a:ext uri="{FF2B5EF4-FFF2-40B4-BE49-F238E27FC236}">
                <a16:creationId xmlns:a16="http://schemas.microsoft.com/office/drawing/2014/main" id="{2BCEE525-390A-89DB-7DFE-B260ECAD7B19}"/>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13" name="Picture 12">
            <a:extLst>
              <a:ext uri="{FF2B5EF4-FFF2-40B4-BE49-F238E27FC236}">
                <a16:creationId xmlns:a16="http://schemas.microsoft.com/office/drawing/2014/main" id="{DA48B225-FA33-4F67-2EC2-996B8498CA3E}"/>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6" name="Rectangle 15">
            <a:extLst>
              <a:ext uri="{FF2B5EF4-FFF2-40B4-BE49-F238E27FC236}">
                <a16:creationId xmlns:a16="http://schemas.microsoft.com/office/drawing/2014/main" id="{555B13DC-1F34-EF46-314D-954819FE9735}"/>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7" name="Rectangle 16">
            <a:extLst>
              <a:ext uri="{FF2B5EF4-FFF2-40B4-BE49-F238E27FC236}">
                <a16:creationId xmlns:a16="http://schemas.microsoft.com/office/drawing/2014/main" id="{D471BE1D-9104-31BF-8433-E258C94C444D}"/>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0481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Bullet Four Column">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Four Column</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9" y="1864890"/>
            <a:ext cx="2528249"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cxnSp>
        <p:nvCxnSpPr>
          <p:cNvPr id="5" name="Straight Connector 4">
            <a:extLst>
              <a:ext uri="{FF2B5EF4-FFF2-40B4-BE49-F238E27FC236}">
                <a16:creationId xmlns:a16="http://schemas.microsoft.com/office/drawing/2014/main" id="{CF9D94BB-0800-CABF-5C41-80D1D663F9B7}"/>
              </a:ext>
            </a:extLst>
          </p:cNvPr>
          <p:cNvCxnSpPr>
            <a:cxnSpLocks/>
          </p:cNvCxnSpPr>
          <p:nvPr userDrawn="1"/>
        </p:nvCxnSpPr>
        <p:spPr>
          <a:xfrm flipV="1">
            <a:off x="3627157" y="188115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7F221C7-D2C2-B9E7-D88F-EEAA59389135}"/>
              </a:ext>
            </a:extLst>
          </p:cNvPr>
          <p:cNvCxnSpPr>
            <a:cxnSpLocks/>
          </p:cNvCxnSpPr>
          <p:nvPr userDrawn="1"/>
        </p:nvCxnSpPr>
        <p:spPr>
          <a:xfrm flipV="1">
            <a:off x="9115256" y="188115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2C05D48C-4AA9-32C3-E59C-78282BD05461}"/>
              </a:ext>
            </a:extLst>
          </p:cNvPr>
          <p:cNvSpPr>
            <a:spLocks noGrp="1"/>
          </p:cNvSpPr>
          <p:nvPr>
            <p:ph type="body" sz="quarter" idx="19" hasCustomPrompt="1"/>
          </p:nvPr>
        </p:nvSpPr>
        <p:spPr>
          <a:xfrm>
            <a:off x="3734899" y="1864890"/>
            <a:ext cx="2528249"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10" name="Text Placeholder 3">
            <a:extLst>
              <a:ext uri="{FF2B5EF4-FFF2-40B4-BE49-F238E27FC236}">
                <a16:creationId xmlns:a16="http://schemas.microsoft.com/office/drawing/2014/main" id="{9DA69184-351A-0F32-D962-F3CA1B334608}"/>
              </a:ext>
            </a:extLst>
          </p:cNvPr>
          <p:cNvSpPr>
            <a:spLocks noGrp="1"/>
          </p:cNvSpPr>
          <p:nvPr>
            <p:ph type="body" sz="quarter" idx="20" hasCustomPrompt="1"/>
          </p:nvPr>
        </p:nvSpPr>
        <p:spPr>
          <a:xfrm>
            <a:off x="6478099" y="1864890"/>
            <a:ext cx="2528249"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12" name="Text Placeholder 3">
            <a:extLst>
              <a:ext uri="{FF2B5EF4-FFF2-40B4-BE49-F238E27FC236}">
                <a16:creationId xmlns:a16="http://schemas.microsoft.com/office/drawing/2014/main" id="{C87F8D9E-0BB7-F906-7378-3D6CF1D72D37}"/>
              </a:ext>
            </a:extLst>
          </p:cNvPr>
          <p:cNvSpPr>
            <a:spLocks noGrp="1"/>
          </p:cNvSpPr>
          <p:nvPr>
            <p:ph type="body" sz="quarter" idx="21" hasCustomPrompt="1"/>
          </p:nvPr>
        </p:nvSpPr>
        <p:spPr>
          <a:xfrm>
            <a:off x="9221300" y="1864890"/>
            <a:ext cx="2528249"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cxnSp>
        <p:nvCxnSpPr>
          <p:cNvPr id="14" name="Straight Connector 13">
            <a:extLst>
              <a:ext uri="{FF2B5EF4-FFF2-40B4-BE49-F238E27FC236}">
                <a16:creationId xmlns:a16="http://schemas.microsoft.com/office/drawing/2014/main" id="{590AC577-0C87-7A68-EE19-2E7C06246C8E}"/>
              </a:ext>
            </a:extLst>
          </p:cNvPr>
          <p:cNvCxnSpPr>
            <a:cxnSpLocks/>
          </p:cNvCxnSpPr>
          <p:nvPr userDrawn="1"/>
        </p:nvCxnSpPr>
        <p:spPr>
          <a:xfrm flipV="1">
            <a:off x="6372056" y="1881152"/>
            <a:ext cx="0" cy="379100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7753F216-AF7E-6457-D2FB-51903EBD938F}"/>
              </a:ext>
            </a:extLst>
          </p:cNvPr>
          <p:cNvSpPr>
            <a:spLocks noGrp="1"/>
          </p:cNvSpPr>
          <p:nvPr>
            <p:ph type="body" sz="quarter" idx="22" hasCustomPrompt="1"/>
          </p:nvPr>
        </p:nvSpPr>
        <p:spPr>
          <a:xfrm>
            <a:off x="6478099" y="1510929"/>
            <a:ext cx="2528249"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16" name="Text Placeholder 3">
            <a:extLst>
              <a:ext uri="{FF2B5EF4-FFF2-40B4-BE49-F238E27FC236}">
                <a16:creationId xmlns:a16="http://schemas.microsoft.com/office/drawing/2014/main" id="{F665EE6F-364C-2188-06AD-856CA22E7ECC}"/>
              </a:ext>
            </a:extLst>
          </p:cNvPr>
          <p:cNvSpPr>
            <a:spLocks noGrp="1"/>
          </p:cNvSpPr>
          <p:nvPr>
            <p:ph type="body" sz="quarter" idx="23" hasCustomPrompt="1"/>
          </p:nvPr>
        </p:nvSpPr>
        <p:spPr>
          <a:xfrm>
            <a:off x="9221299" y="1510929"/>
            <a:ext cx="2528249"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17" name="Text Placeholder 3">
            <a:extLst>
              <a:ext uri="{FF2B5EF4-FFF2-40B4-BE49-F238E27FC236}">
                <a16:creationId xmlns:a16="http://schemas.microsoft.com/office/drawing/2014/main" id="{1B9560F0-A4F7-998E-3EE4-F272C0107166}"/>
              </a:ext>
            </a:extLst>
          </p:cNvPr>
          <p:cNvSpPr>
            <a:spLocks noGrp="1"/>
          </p:cNvSpPr>
          <p:nvPr>
            <p:ph type="body" sz="quarter" idx="24" hasCustomPrompt="1"/>
          </p:nvPr>
        </p:nvSpPr>
        <p:spPr>
          <a:xfrm>
            <a:off x="991699" y="1510929"/>
            <a:ext cx="2528249"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18" name="Text Placeholder 3">
            <a:extLst>
              <a:ext uri="{FF2B5EF4-FFF2-40B4-BE49-F238E27FC236}">
                <a16:creationId xmlns:a16="http://schemas.microsoft.com/office/drawing/2014/main" id="{B0019F25-3E8B-6B27-5884-FC5F1FA3A64F}"/>
              </a:ext>
            </a:extLst>
          </p:cNvPr>
          <p:cNvSpPr>
            <a:spLocks noGrp="1"/>
          </p:cNvSpPr>
          <p:nvPr>
            <p:ph type="body" sz="quarter" idx="25" hasCustomPrompt="1"/>
          </p:nvPr>
        </p:nvSpPr>
        <p:spPr>
          <a:xfrm>
            <a:off x="3734899" y="1510929"/>
            <a:ext cx="2528249"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2" name="Slide Number Placeholder 4">
            <a:extLst>
              <a:ext uri="{FF2B5EF4-FFF2-40B4-BE49-F238E27FC236}">
                <a16:creationId xmlns:a16="http://schemas.microsoft.com/office/drawing/2014/main" id="{0EF860DD-ED13-CD0A-ECF9-9E4118B3E4C6}"/>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3" name="Picture 2" descr="A blue and white checkered flag&#10;&#10;Description automatically generated">
            <a:extLst>
              <a:ext uri="{FF2B5EF4-FFF2-40B4-BE49-F238E27FC236}">
                <a16:creationId xmlns:a16="http://schemas.microsoft.com/office/drawing/2014/main" id="{EB619028-9DFD-7A8D-B821-5088F87A8478}"/>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4" name="Picture 3">
            <a:extLst>
              <a:ext uri="{FF2B5EF4-FFF2-40B4-BE49-F238E27FC236}">
                <a16:creationId xmlns:a16="http://schemas.microsoft.com/office/drawing/2014/main" id="{4BDBDFA8-C927-71D9-6DF8-E047A9FF2E2C}"/>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26" name="Rectangle 25">
            <a:extLst>
              <a:ext uri="{FF2B5EF4-FFF2-40B4-BE49-F238E27FC236}">
                <a16:creationId xmlns:a16="http://schemas.microsoft.com/office/drawing/2014/main" id="{A8D290B1-093A-50FF-2B97-B10D49C4639E}"/>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7" name="Rectangle 26">
            <a:extLst>
              <a:ext uri="{FF2B5EF4-FFF2-40B4-BE49-F238E27FC236}">
                <a16:creationId xmlns:a16="http://schemas.microsoft.com/office/drawing/2014/main" id="{56DE2519-9A40-BE1F-019D-1EC1D2273B29}"/>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5000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 Single Column w/Photo">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6" y="476789"/>
            <a:ext cx="6204858" cy="126270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Single Column with Photo</a:t>
            </a:r>
          </a:p>
        </p:txBody>
      </p:sp>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2182119"/>
            <a:ext cx="6204859" cy="3293396"/>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sp>
        <p:nvSpPr>
          <p:cNvPr id="2" name="Picture Placeholder 25">
            <a:extLst>
              <a:ext uri="{FF2B5EF4-FFF2-40B4-BE49-F238E27FC236}">
                <a16:creationId xmlns:a16="http://schemas.microsoft.com/office/drawing/2014/main" id="{BF42B0EF-8909-7468-F082-C9F1E8101C12}"/>
              </a:ext>
            </a:extLst>
          </p:cNvPr>
          <p:cNvSpPr>
            <a:spLocks noGrp="1"/>
          </p:cNvSpPr>
          <p:nvPr>
            <p:ph type="pic" sz="quarter" idx="16" hasCustomPrompt="1"/>
          </p:nvPr>
        </p:nvSpPr>
        <p:spPr>
          <a:xfrm>
            <a:off x="7601478" y="0"/>
            <a:ext cx="4588917" cy="5475510"/>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pic>
        <p:nvPicPr>
          <p:cNvPr id="4" name="Picture 3" descr="A blue and white checkered flag&#10;&#10;Description automatically generated">
            <a:extLst>
              <a:ext uri="{FF2B5EF4-FFF2-40B4-BE49-F238E27FC236}">
                <a16:creationId xmlns:a16="http://schemas.microsoft.com/office/drawing/2014/main" id="{F2C3778A-395F-6D6F-B61E-2267DF0B0A29}"/>
              </a:ext>
            </a:extLst>
          </p:cNvPr>
          <p:cNvPicPr>
            <a:picLocks noChangeAspect="1"/>
          </p:cNvPicPr>
          <p:nvPr userDrawn="1"/>
        </p:nvPicPr>
        <p:blipFill>
          <a:blip r:embed="rId2"/>
          <a:stretch>
            <a:fillRect/>
          </a:stretch>
        </p:blipFill>
        <p:spPr>
          <a:xfrm>
            <a:off x="277792" y="0"/>
            <a:ext cx="277793" cy="277793"/>
          </a:xfrm>
          <a:prstGeom prst="rect">
            <a:avLst/>
          </a:prstGeom>
        </p:spPr>
      </p:pic>
      <p:sp>
        <p:nvSpPr>
          <p:cNvPr id="9" name="Rectangle 8">
            <a:extLst>
              <a:ext uri="{FF2B5EF4-FFF2-40B4-BE49-F238E27FC236}">
                <a16:creationId xmlns:a16="http://schemas.microsoft.com/office/drawing/2014/main" id="{9564D912-22A0-4427-9D4C-0D75645A9082}"/>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0" name="Rectangle 9">
            <a:extLst>
              <a:ext uri="{FF2B5EF4-FFF2-40B4-BE49-F238E27FC236}">
                <a16:creationId xmlns:a16="http://schemas.microsoft.com/office/drawing/2014/main" id="{35CDCF51-DA31-4F55-134F-3DE1A518E5DD}"/>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8625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Bullet Single Column w/Photos">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6" y="476789"/>
            <a:ext cx="6204858" cy="126270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Single Column with Photos</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2182119"/>
            <a:ext cx="6204859" cy="3293396"/>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739494"/>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Picture Placeholder 25">
            <a:extLst>
              <a:ext uri="{FF2B5EF4-FFF2-40B4-BE49-F238E27FC236}">
                <a16:creationId xmlns:a16="http://schemas.microsoft.com/office/drawing/2014/main" id="{BF42B0EF-8909-7468-F082-C9F1E8101C12}"/>
              </a:ext>
            </a:extLst>
          </p:cNvPr>
          <p:cNvSpPr>
            <a:spLocks noGrp="1"/>
          </p:cNvSpPr>
          <p:nvPr>
            <p:ph type="pic" sz="quarter" idx="16" hasCustomPrompt="1"/>
          </p:nvPr>
        </p:nvSpPr>
        <p:spPr>
          <a:xfrm>
            <a:off x="7601478" y="2182112"/>
            <a:ext cx="4588917" cy="3293397"/>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3" name="Picture Placeholder 25">
            <a:extLst>
              <a:ext uri="{FF2B5EF4-FFF2-40B4-BE49-F238E27FC236}">
                <a16:creationId xmlns:a16="http://schemas.microsoft.com/office/drawing/2014/main" id="{97C2FF5E-9BA9-91BD-249D-600919BDE590}"/>
              </a:ext>
            </a:extLst>
          </p:cNvPr>
          <p:cNvSpPr>
            <a:spLocks noGrp="1"/>
          </p:cNvSpPr>
          <p:nvPr>
            <p:ph type="pic" sz="quarter" idx="17" hasCustomPrompt="1"/>
          </p:nvPr>
        </p:nvSpPr>
        <p:spPr>
          <a:xfrm>
            <a:off x="7601479" y="-1"/>
            <a:ext cx="2299606" cy="2084437"/>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4" name="Picture Placeholder 25">
            <a:extLst>
              <a:ext uri="{FF2B5EF4-FFF2-40B4-BE49-F238E27FC236}">
                <a16:creationId xmlns:a16="http://schemas.microsoft.com/office/drawing/2014/main" id="{2AEAC185-E13A-A5FD-4782-25E848DA50A7}"/>
              </a:ext>
            </a:extLst>
          </p:cNvPr>
          <p:cNvSpPr>
            <a:spLocks noGrp="1"/>
          </p:cNvSpPr>
          <p:nvPr>
            <p:ph type="pic" sz="quarter" idx="18" hasCustomPrompt="1"/>
          </p:nvPr>
        </p:nvSpPr>
        <p:spPr>
          <a:xfrm>
            <a:off x="10007632" y="-1"/>
            <a:ext cx="2182763" cy="2084437"/>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5" name="Slide Number Placeholder 4">
            <a:extLst>
              <a:ext uri="{FF2B5EF4-FFF2-40B4-BE49-F238E27FC236}">
                <a16:creationId xmlns:a16="http://schemas.microsoft.com/office/drawing/2014/main" id="{41097042-D80D-9A21-0DDA-A84F6E204F1E}"/>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6" name="Picture 5" descr="A blue and white checkered flag&#10;&#10;Description automatically generated">
            <a:extLst>
              <a:ext uri="{FF2B5EF4-FFF2-40B4-BE49-F238E27FC236}">
                <a16:creationId xmlns:a16="http://schemas.microsoft.com/office/drawing/2014/main" id="{7A80128F-61DB-0803-CD9F-B6E694850C36}"/>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8" name="Picture 7">
            <a:extLst>
              <a:ext uri="{FF2B5EF4-FFF2-40B4-BE49-F238E27FC236}">
                <a16:creationId xmlns:a16="http://schemas.microsoft.com/office/drawing/2014/main" id="{706310A6-FA49-9F25-70D1-BB75017DAA6D}"/>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2" name="Rectangle 11">
            <a:extLst>
              <a:ext uri="{FF2B5EF4-FFF2-40B4-BE49-F238E27FC236}">
                <a16:creationId xmlns:a16="http://schemas.microsoft.com/office/drawing/2014/main" id="{D3FC94D0-D2D8-E866-84BD-34C4A1FE1E6E}"/>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7532FFB3-0B30-5D83-0D16-9E74FF94D4BD}"/>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2240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w/Photos">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ree Column with Photos</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4072419"/>
            <a:ext cx="3314831" cy="1824983"/>
          </a:xfrm>
        </p:spPr>
        <p:txBody>
          <a:bodyPr lIns="0" rIns="0">
            <a:normAutofit/>
          </a:bodyPr>
          <a:lstStyle>
            <a:lvl1pPr marL="0" indent="0">
              <a:buNone/>
              <a:defRPr sz="1800"/>
            </a:lvl1pPr>
            <a:lvl2pPr marL="457200" indent="0">
              <a:buNone/>
              <a:defRPr/>
            </a:lvl2pPr>
            <a:lvl3pPr marL="914400" indent="0">
              <a:buNone/>
              <a:defRPr/>
            </a:lvl3pPr>
          </a:lstStyle>
          <a:p>
            <a:pPr lvl="0"/>
            <a:r>
              <a:rPr lang="en-US"/>
              <a:t>Text goes here …</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F22FD0CD-FD04-8634-D7B8-F280B324DE97}"/>
              </a:ext>
            </a:extLst>
          </p:cNvPr>
          <p:cNvSpPr>
            <a:spLocks noGrp="1"/>
          </p:cNvSpPr>
          <p:nvPr>
            <p:ph type="body" sz="quarter" idx="17" hasCustomPrompt="1"/>
          </p:nvPr>
        </p:nvSpPr>
        <p:spPr>
          <a:xfrm>
            <a:off x="8434717" y="4072419"/>
            <a:ext cx="3314831" cy="1824983"/>
          </a:xfrm>
        </p:spPr>
        <p:txBody>
          <a:bodyPr lIns="0" rIns="0">
            <a:normAutofit/>
          </a:bodyPr>
          <a:lstStyle>
            <a:lvl1pPr marL="0" indent="0">
              <a:buNone/>
              <a:defRPr sz="1800"/>
            </a:lvl1pPr>
            <a:lvl2pPr marL="457200" indent="0">
              <a:buNone/>
              <a:defRPr/>
            </a:lvl2pPr>
            <a:lvl3pPr marL="914400" indent="0">
              <a:buNone/>
              <a:defRPr/>
            </a:lvl3pPr>
          </a:lstStyle>
          <a:p>
            <a:pPr lvl="0"/>
            <a:r>
              <a:rPr lang="en-US"/>
              <a:t>Text goes here …</a:t>
            </a:r>
          </a:p>
        </p:txBody>
      </p:sp>
      <p:sp>
        <p:nvSpPr>
          <p:cNvPr id="4" name="Text Placeholder 3">
            <a:extLst>
              <a:ext uri="{FF2B5EF4-FFF2-40B4-BE49-F238E27FC236}">
                <a16:creationId xmlns:a16="http://schemas.microsoft.com/office/drawing/2014/main" id="{1057C0FE-2BC5-D429-70D8-1C8427B99C5F}"/>
              </a:ext>
            </a:extLst>
          </p:cNvPr>
          <p:cNvSpPr>
            <a:spLocks noGrp="1"/>
          </p:cNvSpPr>
          <p:nvPr>
            <p:ph type="body" sz="quarter" idx="18" hasCustomPrompt="1"/>
          </p:nvPr>
        </p:nvSpPr>
        <p:spPr>
          <a:xfrm>
            <a:off x="4698459" y="4072419"/>
            <a:ext cx="3314831" cy="1824983"/>
          </a:xfrm>
        </p:spPr>
        <p:txBody>
          <a:bodyPr lIns="0" rIns="0">
            <a:normAutofit/>
          </a:bodyPr>
          <a:lstStyle>
            <a:lvl1pPr marL="0" indent="0">
              <a:buNone/>
              <a:defRPr sz="1800"/>
            </a:lvl1pPr>
            <a:lvl2pPr marL="457200" indent="0">
              <a:buNone/>
              <a:defRPr/>
            </a:lvl2pPr>
            <a:lvl3pPr marL="914400" indent="0">
              <a:buNone/>
              <a:defRPr/>
            </a:lvl3pPr>
          </a:lstStyle>
          <a:p>
            <a:pPr lvl="0"/>
            <a:r>
              <a:rPr lang="en-US"/>
              <a:t>Text goes here …</a:t>
            </a:r>
          </a:p>
        </p:txBody>
      </p:sp>
      <p:cxnSp>
        <p:nvCxnSpPr>
          <p:cNvPr id="5" name="Straight Connector 4">
            <a:extLst>
              <a:ext uri="{FF2B5EF4-FFF2-40B4-BE49-F238E27FC236}">
                <a16:creationId xmlns:a16="http://schemas.microsoft.com/office/drawing/2014/main" id="{CF9D94BB-0800-CABF-5C41-80D1D663F9B7}"/>
              </a:ext>
            </a:extLst>
          </p:cNvPr>
          <p:cNvCxnSpPr>
            <a:cxnSpLocks/>
          </p:cNvCxnSpPr>
          <p:nvPr userDrawn="1"/>
        </p:nvCxnSpPr>
        <p:spPr>
          <a:xfrm flipV="1">
            <a:off x="4502228" y="1494268"/>
            <a:ext cx="0" cy="44254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F529CBE9-E801-6775-C916-FBB425AF86E4}"/>
              </a:ext>
            </a:extLst>
          </p:cNvPr>
          <p:cNvSpPr>
            <a:spLocks noGrp="1"/>
          </p:cNvSpPr>
          <p:nvPr>
            <p:ph type="body" sz="quarter" idx="22" hasCustomPrompt="1"/>
          </p:nvPr>
        </p:nvSpPr>
        <p:spPr>
          <a:xfrm>
            <a:off x="8434717" y="3730079"/>
            <a:ext cx="3314831"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9" name="Text Placeholder 3">
            <a:extLst>
              <a:ext uri="{FF2B5EF4-FFF2-40B4-BE49-F238E27FC236}">
                <a16:creationId xmlns:a16="http://schemas.microsoft.com/office/drawing/2014/main" id="{FAEC8527-411E-5E2C-A2A5-FE0BFC4B0913}"/>
              </a:ext>
            </a:extLst>
          </p:cNvPr>
          <p:cNvSpPr>
            <a:spLocks noGrp="1"/>
          </p:cNvSpPr>
          <p:nvPr>
            <p:ph type="body" sz="quarter" idx="24" hasCustomPrompt="1"/>
          </p:nvPr>
        </p:nvSpPr>
        <p:spPr>
          <a:xfrm>
            <a:off x="991699" y="3730079"/>
            <a:ext cx="3314830"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10" name="Text Placeholder 3">
            <a:extLst>
              <a:ext uri="{FF2B5EF4-FFF2-40B4-BE49-F238E27FC236}">
                <a16:creationId xmlns:a16="http://schemas.microsoft.com/office/drawing/2014/main" id="{FD510753-FC6C-D6C7-BD56-236A18A158EF}"/>
              </a:ext>
            </a:extLst>
          </p:cNvPr>
          <p:cNvSpPr>
            <a:spLocks noGrp="1"/>
          </p:cNvSpPr>
          <p:nvPr>
            <p:ph type="body" sz="quarter" idx="25" hasCustomPrompt="1"/>
          </p:nvPr>
        </p:nvSpPr>
        <p:spPr>
          <a:xfrm>
            <a:off x="4698459" y="3730079"/>
            <a:ext cx="3314831"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26" name="Picture Placeholder 25">
            <a:extLst>
              <a:ext uri="{FF2B5EF4-FFF2-40B4-BE49-F238E27FC236}">
                <a16:creationId xmlns:a16="http://schemas.microsoft.com/office/drawing/2014/main" id="{1A76968C-9584-75B6-412C-8D813D3B83C6}"/>
              </a:ext>
            </a:extLst>
          </p:cNvPr>
          <p:cNvSpPr>
            <a:spLocks noGrp="1"/>
          </p:cNvSpPr>
          <p:nvPr>
            <p:ph type="pic" sz="quarter" idx="26" hasCustomPrompt="1"/>
          </p:nvPr>
        </p:nvSpPr>
        <p:spPr>
          <a:xfrm>
            <a:off x="980875" y="1471966"/>
            <a:ext cx="3325647"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27" name="Picture Placeholder 25">
            <a:extLst>
              <a:ext uri="{FF2B5EF4-FFF2-40B4-BE49-F238E27FC236}">
                <a16:creationId xmlns:a16="http://schemas.microsoft.com/office/drawing/2014/main" id="{15BE7786-E223-E932-8AE6-4FE1F9A0C807}"/>
              </a:ext>
            </a:extLst>
          </p:cNvPr>
          <p:cNvSpPr>
            <a:spLocks noGrp="1"/>
          </p:cNvSpPr>
          <p:nvPr>
            <p:ph type="pic" sz="quarter" idx="27" hasCustomPrompt="1"/>
          </p:nvPr>
        </p:nvSpPr>
        <p:spPr>
          <a:xfrm>
            <a:off x="4694231" y="1471966"/>
            <a:ext cx="3325647"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29" name="Picture Placeholder 25">
            <a:extLst>
              <a:ext uri="{FF2B5EF4-FFF2-40B4-BE49-F238E27FC236}">
                <a16:creationId xmlns:a16="http://schemas.microsoft.com/office/drawing/2014/main" id="{26B98ED2-BB52-5285-74C3-25BBC2602D2D}"/>
              </a:ext>
            </a:extLst>
          </p:cNvPr>
          <p:cNvSpPr>
            <a:spLocks noGrp="1"/>
          </p:cNvSpPr>
          <p:nvPr>
            <p:ph type="pic" sz="quarter" idx="28" hasCustomPrompt="1"/>
          </p:nvPr>
        </p:nvSpPr>
        <p:spPr>
          <a:xfrm>
            <a:off x="8441041" y="1471966"/>
            <a:ext cx="3325647"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cxnSp>
        <p:nvCxnSpPr>
          <p:cNvPr id="32" name="Straight Connector 31">
            <a:extLst>
              <a:ext uri="{FF2B5EF4-FFF2-40B4-BE49-F238E27FC236}">
                <a16:creationId xmlns:a16="http://schemas.microsoft.com/office/drawing/2014/main" id="{F932D740-15B7-BE66-6FDD-D5D44D39556A}"/>
              </a:ext>
            </a:extLst>
          </p:cNvPr>
          <p:cNvCxnSpPr>
            <a:cxnSpLocks/>
          </p:cNvCxnSpPr>
          <p:nvPr userDrawn="1"/>
        </p:nvCxnSpPr>
        <p:spPr>
          <a:xfrm flipV="1">
            <a:off x="8226735" y="1494268"/>
            <a:ext cx="0" cy="44254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E2678A04-4CB9-5E5F-8922-C82DAC0D3A37}"/>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6" name="Picture 5" descr="A blue and white checkered flag&#10;&#10;Description automatically generated">
            <a:extLst>
              <a:ext uri="{FF2B5EF4-FFF2-40B4-BE49-F238E27FC236}">
                <a16:creationId xmlns:a16="http://schemas.microsoft.com/office/drawing/2014/main" id="{B8ABE138-7BB7-C38F-5FA9-E98883B0B647}"/>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12" name="Picture 11">
            <a:extLst>
              <a:ext uri="{FF2B5EF4-FFF2-40B4-BE49-F238E27FC236}">
                <a16:creationId xmlns:a16="http://schemas.microsoft.com/office/drawing/2014/main" id="{DB7CEDB7-42EB-1016-C1C5-A619558DFD79}"/>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5" name="Rectangle 14">
            <a:extLst>
              <a:ext uri="{FF2B5EF4-FFF2-40B4-BE49-F238E27FC236}">
                <a16:creationId xmlns:a16="http://schemas.microsoft.com/office/drawing/2014/main" id="{1A46C8BD-3459-64E9-9A03-60C5BBA8E8B6}"/>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6" name="Rectangle 15">
            <a:extLst>
              <a:ext uri="{FF2B5EF4-FFF2-40B4-BE49-F238E27FC236}">
                <a16:creationId xmlns:a16="http://schemas.microsoft.com/office/drawing/2014/main" id="{885991CC-342F-DF49-EFAA-8D2519351CFC}"/>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5579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w/Photos">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our Column with Photos</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9" y="4072419"/>
            <a:ext cx="2528249" cy="1833117"/>
          </a:xfrm>
        </p:spPr>
        <p:txBody>
          <a:bodyPr lIns="0" rIns="0">
            <a:normAutofit/>
          </a:bodyPr>
          <a:lstStyle>
            <a:lvl1pPr marL="0" indent="0">
              <a:buNone/>
              <a:defRPr sz="1800"/>
            </a:lvl1pPr>
            <a:lvl2pPr marL="457200" indent="0">
              <a:buNone/>
              <a:defRPr sz="1800"/>
            </a:lvl2pPr>
            <a:lvl3pPr marL="914400" indent="0">
              <a:buNone/>
              <a:defRPr sz="1800"/>
            </a:lvl3pPr>
          </a:lstStyle>
          <a:p>
            <a:pPr lvl="0"/>
            <a:r>
              <a:rPr lang="en-US"/>
              <a:t>Text goes here …</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F9D94BB-0800-CABF-5C41-80D1D663F9B7}"/>
              </a:ext>
            </a:extLst>
          </p:cNvPr>
          <p:cNvCxnSpPr>
            <a:cxnSpLocks/>
          </p:cNvCxnSpPr>
          <p:nvPr userDrawn="1"/>
        </p:nvCxnSpPr>
        <p:spPr>
          <a:xfrm flipV="1">
            <a:off x="3627157" y="1483117"/>
            <a:ext cx="0" cy="44335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2C05D48C-4AA9-32C3-E59C-78282BD05461}"/>
              </a:ext>
            </a:extLst>
          </p:cNvPr>
          <p:cNvSpPr>
            <a:spLocks noGrp="1"/>
          </p:cNvSpPr>
          <p:nvPr>
            <p:ph type="body" sz="quarter" idx="19" hasCustomPrompt="1"/>
          </p:nvPr>
        </p:nvSpPr>
        <p:spPr>
          <a:xfrm>
            <a:off x="3734899" y="4072419"/>
            <a:ext cx="2528249" cy="1833117"/>
          </a:xfrm>
        </p:spPr>
        <p:txBody>
          <a:bodyPr lIns="0" rIns="0">
            <a:normAutofit/>
          </a:bodyPr>
          <a:lstStyle>
            <a:lvl1pPr marL="0" indent="0">
              <a:buNone/>
              <a:defRPr sz="1800"/>
            </a:lvl1pPr>
            <a:lvl2pPr marL="457200" indent="0">
              <a:buNone/>
              <a:defRPr sz="1800"/>
            </a:lvl2pPr>
            <a:lvl3pPr marL="914400" indent="0">
              <a:buNone/>
              <a:defRPr sz="1800"/>
            </a:lvl3pPr>
          </a:lstStyle>
          <a:p>
            <a:pPr lvl="0"/>
            <a:r>
              <a:rPr lang="en-US"/>
              <a:t>Text goes here …</a:t>
            </a:r>
          </a:p>
        </p:txBody>
      </p:sp>
      <p:sp>
        <p:nvSpPr>
          <p:cNvPr id="10" name="Text Placeholder 3">
            <a:extLst>
              <a:ext uri="{FF2B5EF4-FFF2-40B4-BE49-F238E27FC236}">
                <a16:creationId xmlns:a16="http://schemas.microsoft.com/office/drawing/2014/main" id="{9DA69184-351A-0F32-D962-F3CA1B334608}"/>
              </a:ext>
            </a:extLst>
          </p:cNvPr>
          <p:cNvSpPr>
            <a:spLocks noGrp="1"/>
          </p:cNvSpPr>
          <p:nvPr>
            <p:ph type="body" sz="quarter" idx="20" hasCustomPrompt="1"/>
          </p:nvPr>
        </p:nvSpPr>
        <p:spPr>
          <a:xfrm>
            <a:off x="6478099" y="4072419"/>
            <a:ext cx="2528249" cy="1833117"/>
          </a:xfrm>
        </p:spPr>
        <p:txBody>
          <a:bodyPr lIns="0" rIns="0">
            <a:normAutofit/>
          </a:bodyPr>
          <a:lstStyle>
            <a:lvl1pPr marL="0" indent="0">
              <a:buNone/>
              <a:defRPr sz="1800"/>
            </a:lvl1pPr>
            <a:lvl2pPr marL="457200" indent="0">
              <a:buNone/>
              <a:defRPr sz="1800"/>
            </a:lvl2pPr>
            <a:lvl3pPr marL="914400" indent="0">
              <a:buNone/>
              <a:defRPr sz="1800"/>
            </a:lvl3pPr>
          </a:lstStyle>
          <a:p>
            <a:pPr lvl="0"/>
            <a:r>
              <a:rPr lang="en-US"/>
              <a:t>Text goes here …</a:t>
            </a:r>
          </a:p>
        </p:txBody>
      </p:sp>
      <p:sp>
        <p:nvSpPr>
          <p:cNvPr id="12" name="Text Placeholder 3">
            <a:extLst>
              <a:ext uri="{FF2B5EF4-FFF2-40B4-BE49-F238E27FC236}">
                <a16:creationId xmlns:a16="http://schemas.microsoft.com/office/drawing/2014/main" id="{C87F8D9E-0BB7-F906-7378-3D6CF1D72D37}"/>
              </a:ext>
            </a:extLst>
          </p:cNvPr>
          <p:cNvSpPr>
            <a:spLocks noGrp="1"/>
          </p:cNvSpPr>
          <p:nvPr>
            <p:ph type="body" sz="quarter" idx="21" hasCustomPrompt="1"/>
          </p:nvPr>
        </p:nvSpPr>
        <p:spPr>
          <a:xfrm>
            <a:off x="9221300" y="4072419"/>
            <a:ext cx="2528249" cy="1833117"/>
          </a:xfrm>
        </p:spPr>
        <p:txBody>
          <a:bodyPr lIns="0" rIns="0">
            <a:normAutofit/>
          </a:bodyPr>
          <a:lstStyle>
            <a:lvl1pPr marL="0" indent="0">
              <a:buNone/>
              <a:defRPr sz="1800"/>
            </a:lvl1pPr>
            <a:lvl2pPr marL="457200" indent="0">
              <a:buNone/>
              <a:defRPr sz="1800"/>
            </a:lvl2pPr>
            <a:lvl3pPr marL="914400" indent="0">
              <a:buNone/>
              <a:defRPr sz="1800"/>
            </a:lvl3pPr>
          </a:lstStyle>
          <a:p>
            <a:pPr lvl="0"/>
            <a:r>
              <a:rPr lang="en-US"/>
              <a:t>Text goes here …</a:t>
            </a:r>
          </a:p>
        </p:txBody>
      </p:sp>
      <p:sp>
        <p:nvSpPr>
          <p:cNvPr id="3" name="Picture Placeholder 25">
            <a:extLst>
              <a:ext uri="{FF2B5EF4-FFF2-40B4-BE49-F238E27FC236}">
                <a16:creationId xmlns:a16="http://schemas.microsoft.com/office/drawing/2014/main" id="{8503821B-8800-93EB-1508-DBC3BF76EB85}"/>
              </a:ext>
            </a:extLst>
          </p:cNvPr>
          <p:cNvSpPr>
            <a:spLocks noGrp="1"/>
          </p:cNvSpPr>
          <p:nvPr>
            <p:ph type="pic" sz="quarter" idx="26" hasCustomPrompt="1"/>
          </p:nvPr>
        </p:nvSpPr>
        <p:spPr>
          <a:xfrm>
            <a:off x="980876" y="1471966"/>
            <a:ext cx="2528250"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4" name="Picture Placeholder 25">
            <a:extLst>
              <a:ext uri="{FF2B5EF4-FFF2-40B4-BE49-F238E27FC236}">
                <a16:creationId xmlns:a16="http://schemas.microsoft.com/office/drawing/2014/main" id="{9E6DE31D-5272-B0A2-9A99-944865B588A7}"/>
              </a:ext>
            </a:extLst>
          </p:cNvPr>
          <p:cNvSpPr>
            <a:spLocks noGrp="1"/>
          </p:cNvSpPr>
          <p:nvPr>
            <p:ph type="pic" sz="quarter" idx="27" hasCustomPrompt="1"/>
          </p:nvPr>
        </p:nvSpPr>
        <p:spPr>
          <a:xfrm>
            <a:off x="3724078" y="1471966"/>
            <a:ext cx="2528250"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8" name="Picture Placeholder 25">
            <a:extLst>
              <a:ext uri="{FF2B5EF4-FFF2-40B4-BE49-F238E27FC236}">
                <a16:creationId xmlns:a16="http://schemas.microsoft.com/office/drawing/2014/main" id="{DF4C66CF-173B-7AD6-91BD-03863C58F9CB}"/>
              </a:ext>
            </a:extLst>
          </p:cNvPr>
          <p:cNvSpPr>
            <a:spLocks noGrp="1"/>
          </p:cNvSpPr>
          <p:nvPr>
            <p:ph type="pic" sz="quarter" idx="28" hasCustomPrompt="1"/>
          </p:nvPr>
        </p:nvSpPr>
        <p:spPr>
          <a:xfrm>
            <a:off x="6478099" y="1471966"/>
            <a:ext cx="2528249"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26" name="Picture Placeholder 25">
            <a:extLst>
              <a:ext uri="{FF2B5EF4-FFF2-40B4-BE49-F238E27FC236}">
                <a16:creationId xmlns:a16="http://schemas.microsoft.com/office/drawing/2014/main" id="{37129CDB-7C11-80BA-1AF7-0AAA646EB939}"/>
              </a:ext>
            </a:extLst>
          </p:cNvPr>
          <p:cNvSpPr>
            <a:spLocks noGrp="1"/>
          </p:cNvSpPr>
          <p:nvPr>
            <p:ph type="pic" sz="quarter" idx="29" hasCustomPrompt="1"/>
          </p:nvPr>
        </p:nvSpPr>
        <p:spPr>
          <a:xfrm>
            <a:off x="9232119" y="1471966"/>
            <a:ext cx="2528249" cy="2074121"/>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cxnSp>
        <p:nvCxnSpPr>
          <p:cNvPr id="34" name="Straight Connector 33">
            <a:extLst>
              <a:ext uri="{FF2B5EF4-FFF2-40B4-BE49-F238E27FC236}">
                <a16:creationId xmlns:a16="http://schemas.microsoft.com/office/drawing/2014/main" id="{11567848-DE76-D6C2-5C62-BB6511D67E7C}"/>
              </a:ext>
            </a:extLst>
          </p:cNvPr>
          <p:cNvCxnSpPr>
            <a:cxnSpLocks/>
          </p:cNvCxnSpPr>
          <p:nvPr userDrawn="1"/>
        </p:nvCxnSpPr>
        <p:spPr>
          <a:xfrm flipV="1">
            <a:off x="6359206" y="1483117"/>
            <a:ext cx="0" cy="44335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6105651-C81E-E280-825C-160B87FF37A4}"/>
              </a:ext>
            </a:extLst>
          </p:cNvPr>
          <p:cNvCxnSpPr>
            <a:cxnSpLocks/>
          </p:cNvCxnSpPr>
          <p:nvPr userDrawn="1"/>
        </p:nvCxnSpPr>
        <p:spPr>
          <a:xfrm flipV="1">
            <a:off x="9124708" y="1483117"/>
            <a:ext cx="0" cy="44335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0D15CA9E-A822-C49E-51E7-F5E601FC933B}"/>
              </a:ext>
            </a:extLst>
          </p:cNvPr>
          <p:cNvSpPr>
            <a:spLocks noGrp="1"/>
          </p:cNvSpPr>
          <p:nvPr>
            <p:ph type="body" sz="quarter" idx="30" hasCustomPrompt="1"/>
          </p:nvPr>
        </p:nvSpPr>
        <p:spPr>
          <a:xfrm>
            <a:off x="991699" y="3730079"/>
            <a:ext cx="2527716"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38" name="Text Placeholder 3">
            <a:extLst>
              <a:ext uri="{FF2B5EF4-FFF2-40B4-BE49-F238E27FC236}">
                <a16:creationId xmlns:a16="http://schemas.microsoft.com/office/drawing/2014/main" id="{7B1AF7D5-153A-D2D3-F2EC-4B55FC624AEB}"/>
              </a:ext>
            </a:extLst>
          </p:cNvPr>
          <p:cNvSpPr>
            <a:spLocks noGrp="1"/>
          </p:cNvSpPr>
          <p:nvPr>
            <p:ph type="body" sz="quarter" idx="31" hasCustomPrompt="1"/>
          </p:nvPr>
        </p:nvSpPr>
        <p:spPr>
          <a:xfrm>
            <a:off x="3726587" y="3730079"/>
            <a:ext cx="2527716"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39" name="Text Placeholder 3">
            <a:extLst>
              <a:ext uri="{FF2B5EF4-FFF2-40B4-BE49-F238E27FC236}">
                <a16:creationId xmlns:a16="http://schemas.microsoft.com/office/drawing/2014/main" id="{95935367-88BC-20C1-26A5-7EEA64EC778B}"/>
              </a:ext>
            </a:extLst>
          </p:cNvPr>
          <p:cNvSpPr>
            <a:spLocks noGrp="1"/>
          </p:cNvSpPr>
          <p:nvPr>
            <p:ph type="body" sz="quarter" idx="32" hasCustomPrompt="1"/>
          </p:nvPr>
        </p:nvSpPr>
        <p:spPr>
          <a:xfrm>
            <a:off x="6469787" y="3730079"/>
            <a:ext cx="2527716"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40" name="Text Placeholder 3">
            <a:extLst>
              <a:ext uri="{FF2B5EF4-FFF2-40B4-BE49-F238E27FC236}">
                <a16:creationId xmlns:a16="http://schemas.microsoft.com/office/drawing/2014/main" id="{9F79719F-DCD6-82A5-AFB7-6DC3BCEE9C6F}"/>
              </a:ext>
            </a:extLst>
          </p:cNvPr>
          <p:cNvSpPr>
            <a:spLocks noGrp="1"/>
          </p:cNvSpPr>
          <p:nvPr>
            <p:ph type="body" sz="quarter" idx="33" hasCustomPrompt="1"/>
          </p:nvPr>
        </p:nvSpPr>
        <p:spPr>
          <a:xfrm>
            <a:off x="9232119" y="3730079"/>
            <a:ext cx="2527716" cy="229382"/>
          </a:xfrm>
        </p:spPr>
        <p:txBody>
          <a:bodyPr lIns="0" rIns="0">
            <a:noAutofit/>
          </a:bodyPr>
          <a:lstStyle>
            <a:lvl1pPr marL="0" indent="0">
              <a:buNone/>
              <a:defRPr sz="1600" b="1">
                <a:solidFill>
                  <a:schemeClr val="accent1"/>
                </a:solidFill>
              </a:defRPr>
            </a:lvl1pPr>
            <a:lvl2pPr marL="457200" indent="0">
              <a:buNone/>
              <a:defRPr/>
            </a:lvl2pPr>
            <a:lvl3pPr marL="914400" indent="0">
              <a:buNone/>
              <a:defRPr/>
            </a:lvl3pPr>
          </a:lstStyle>
          <a:p>
            <a:pPr lvl="0"/>
            <a:r>
              <a:rPr lang="en-US"/>
              <a:t>HEADING</a:t>
            </a:r>
          </a:p>
        </p:txBody>
      </p:sp>
      <p:sp>
        <p:nvSpPr>
          <p:cNvPr id="2" name="Slide Number Placeholder 4">
            <a:extLst>
              <a:ext uri="{FF2B5EF4-FFF2-40B4-BE49-F238E27FC236}">
                <a16:creationId xmlns:a16="http://schemas.microsoft.com/office/drawing/2014/main" id="{EB3DA9DE-5606-AC48-FD10-6073C15F5B32}"/>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6" name="Picture 5" descr="A blue and white checkered flag&#10;&#10;Description automatically generated">
            <a:extLst>
              <a:ext uri="{FF2B5EF4-FFF2-40B4-BE49-F238E27FC236}">
                <a16:creationId xmlns:a16="http://schemas.microsoft.com/office/drawing/2014/main" id="{6EB32608-F95A-51AD-ED30-B48F2763DF7E}"/>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13" name="Picture 12">
            <a:extLst>
              <a:ext uri="{FF2B5EF4-FFF2-40B4-BE49-F238E27FC236}">
                <a16:creationId xmlns:a16="http://schemas.microsoft.com/office/drawing/2014/main" id="{D67EE8D0-4508-EF4F-D27F-63ED26650AA0}"/>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6" name="Rectangle 15">
            <a:extLst>
              <a:ext uri="{FF2B5EF4-FFF2-40B4-BE49-F238E27FC236}">
                <a16:creationId xmlns:a16="http://schemas.microsoft.com/office/drawing/2014/main" id="{0E1DF28D-665E-00A9-A6E5-4E1D9E17D85B}"/>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7" name="Rectangle 16">
            <a:extLst>
              <a:ext uri="{FF2B5EF4-FFF2-40B4-BE49-F238E27FC236}">
                <a16:creationId xmlns:a16="http://schemas.microsoft.com/office/drawing/2014/main" id="{F91F4B1D-B764-73A0-040D-663EE460B8DF}"/>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3202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w/Stats">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ree Column with Stats</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9" y="3391409"/>
            <a:ext cx="3314830" cy="2175458"/>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2C05D48C-4AA9-32C3-E59C-78282BD05461}"/>
              </a:ext>
            </a:extLst>
          </p:cNvPr>
          <p:cNvSpPr>
            <a:spLocks noGrp="1"/>
          </p:cNvSpPr>
          <p:nvPr>
            <p:ph type="body" sz="quarter" idx="19" hasCustomPrompt="1"/>
          </p:nvPr>
        </p:nvSpPr>
        <p:spPr>
          <a:xfrm>
            <a:off x="4698458" y="3391409"/>
            <a:ext cx="3314832" cy="2175457"/>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sp>
        <p:nvSpPr>
          <p:cNvPr id="12" name="Text Placeholder 3">
            <a:extLst>
              <a:ext uri="{FF2B5EF4-FFF2-40B4-BE49-F238E27FC236}">
                <a16:creationId xmlns:a16="http://schemas.microsoft.com/office/drawing/2014/main" id="{C87F8D9E-0BB7-F906-7378-3D6CF1D72D37}"/>
              </a:ext>
            </a:extLst>
          </p:cNvPr>
          <p:cNvSpPr>
            <a:spLocks noGrp="1"/>
          </p:cNvSpPr>
          <p:nvPr>
            <p:ph type="body" sz="quarter" idx="21" hasCustomPrompt="1"/>
          </p:nvPr>
        </p:nvSpPr>
        <p:spPr>
          <a:xfrm>
            <a:off x="8405219" y="3391409"/>
            <a:ext cx="3344331" cy="2175457"/>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cxnSp>
        <p:nvCxnSpPr>
          <p:cNvPr id="2" name="Straight Connector 1">
            <a:extLst>
              <a:ext uri="{FF2B5EF4-FFF2-40B4-BE49-F238E27FC236}">
                <a16:creationId xmlns:a16="http://schemas.microsoft.com/office/drawing/2014/main" id="{D5C99115-6B72-C340-796D-3E733B71839E}"/>
              </a:ext>
            </a:extLst>
          </p:cNvPr>
          <p:cNvCxnSpPr>
            <a:cxnSpLocks/>
          </p:cNvCxnSpPr>
          <p:nvPr userDrawn="1"/>
        </p:nvCxnSpPr>
        <p:spPr>
          <a:xfrm>
            <a:off x="980876" y="3219434"/>
            <a:ext cx="332902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0D0F604-CA1F-0669-2E3C-6AA4B801DD0A}"/>
              </a:ext>
            </a:extLst>
          </p:cNvPr>
          <p:cNvCxnSpPr>
            <a:cxnSpLocks/>
          </p:cNvCxnSpPr>
          <p:nvPr userDrawn="1"/>
        </p:nvCxnSpPr>
        <p:spPr>
          <a:xfrm>
            <a:off x="4698924" y="3219434"/>
            <a:ext cx="332902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5160B4-2EED-FD55-FFE7-F8A092B935B7}"/>
              </a:ext>
            </a:extLst>
          </p:cNvPr>
          <p:cNvCxnSpPr>
            <a:cxnSpLocks/>
          </p:cNvCxnSpPr>
          <p:nvPr userDrawn="1"/>
        </p:nvCxnSpPr>
        <p:spPr>
          <a:xfrm>
            <a:off x="8402639" y="3219434"/>
            <a:ext cx="3324331"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ACEB21BC-21F4-9D49-0387-C87A447C1FAA}"/>
              </a:ext>
            </a:extLst>
          </p:cNvPr>
          <p:cNvSpPr>
            <a:spLocks noGrp="1"/>
          </p:cNvSpPr>
          <p:nvPr>
            <p:ph type="body" sz="quarter" idx="22" hasCustomPrompt="1"/>
          </p:nvPr>
        </p:nvSpPr>
        <p:spPr>
          <a:xfrm>
            <a:off x="991699" y="2077152"/>
            <a:ext cx="3314830"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0" name="Text Placeholder 3">
            <a:extLst>
              <a:ext uri="{FF2B5EF4-FFF2-40B4-BE49-F238E27FC236}">
                <a16:creationId xmlns:a16="http://schemas.microsoft.com/office/drawing/2014/main" id="{85DCE979-2646-9A6E-BBB2-970179C136FF}"/>
              </a:ext>
            </a:extLst>
          </p:cNvPr>
          <p:cNvSpPr>
            <a:spLocks noGrp="1"/>
          </p:cNvSpPr>
          <p:nvPr>
            <p:ph type="body" sz="quarter" idx="23" hasCustomPrompt="1"/>
          </p:nvPr>
        </p:nvSpPr>
        <p:spPr>
          <a:xfrm>
            <a:off x="4698458" y="2077152"/>
            <a:ext cx="3314832"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2" name="Text Placeholder 3">
            <a:extLst>
              <a:ext uri="{FF2B5EF4-FFF2-40B4-BE49-F238E27FC236}">
                <a16:creationId xmlns:a16="http://schemas.microsoft.com/office/drawing/2014/main" id="{4787DC20-676B-B7E2-16D2-8D4A989B8993}"/>
              </a:ext>
            </a:extLst>
          </p:cNvPr>
          <p:cNvSpPr>
            <a:spLocks noGrp="1"/>
          </p:cNvSpPr>
          <p:nvPr>
            <p:ph type="body" sz="quarter" idx="25" hasCustomPrompt="1"/>
          </p:nvPr>
        </p:nvSpPr>
        <p:spPr>
          <a:xfrm>
            <a:off x="8405520" y="2077152"/>
            <a:ext cx="3310161"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 name="Slide Number Placeholder 4">
            <a:extLst>
              <a:ext uri="{FF2B5EF4-FFF2-40B4-BE49-F238E27FC236}">
                <a16:creationId xmlns:a16="http://schemas.microsoft.com/office/drawing/2014/main" id="{820CC089-69CB-55F5-2BFE-68930202E248}"/>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4" name="Picture 3" descr="A blue and white checkered flag&#10;&#10;Description automatically generated">
            <a:extLst>
              <a:ext uri="{FF2B5EF4-FFF2-40B4-BE49-F238E27FC236}">
                <a16:creationId xmlns:a16="http://schemas.microsoft.com/office/drawing/2014/main" id="{064E49A5-9571-BD79-6E77-79782D5CBBFB}"/>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5" name="Picture 4">
            <a:extLst>
              <a:ext uri="{FF2B5EF4-FFF2-40B4-BE49-F238E27FC236}">
                <a16:creationId xmlns:a16="http://schemas.microsoft.com/office/drawing/2014/main" id="{3A9DCC3B-8EF8-A898-3D54-0E9E1E353CFE}"/>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0" name="Rectangle 9">
            <a:extLst>
              <a:ext uri="{FF2B5EF4-FFF2-40B4-BE49-F238E27FC236}">
                <a16:creationId xmlns:a16="http://schemas.microsoft.com/office/drawing/2014/main" id="{142D0681-3706-00B3-09CD-2C846D45F75C}"/>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4" name="Rectangle 13">
            <a:extLst>
              <a:ext uri="{FF2B5EF4-FFF2-40B4-BE49-F238E27FC236}">
                <a16:creationId xmlns:a16="http://schemas.microsoft.com/office/drawing/2014/main" id="{EEFB3588-F35B-0F4C-2E5F-F8A73973CF49}"/>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80600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lumn w/Stats">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our Column with Stats</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9" y="3391409"/>
            <a:ext cx="2528249" cy="2175458"/>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2C05D48C-4AA9-32C3-E59C-78282BD05461}"/>
              </a:ext>
            </a:extLst>
          </p:cNvPr>
          <p:cNvSpPr>
            <a:spLocks noGrp="1"/>
          </p:cNvSpPr>
          <p:nvPr>
            <p:ph type="body" sz="quarter" idx="19" hasCustomPrompt="1"/>
          </p:nvPr>
        </p:nvSpPr>
        <p:spPr>
          <a:xfrm>
            <a:off x="3734899" y="3391409"/>
            <a:ext cx="2528249" cy="2175457"/>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sp>
        <p:nvSpPr>
          <p:cNvPr id="10" name="Text Placeholder 3">
            <a:extLst>
              <a:ext uri="{FF2B5EF4-FFF2-40B4-BE49-F238E27FC236}">
                <a16:creationId xmlns:a16="http://schemas.microsoft.com/office/drawing/2014/main" id="{9DA69184-351A-0F32-D962-F3CA1B334608}"/>
              </a:ext>
            </a:extLst>
          </p:cNvPr>
          <p:cNvSpPr>
            <a:spLocks noGrp="1"/>
          </p:cNvSpPr>
          <p:nvPr>
            <p:ph type="body" sz="quarter" idx="20" hasCustomPrompt="1"/>
          </p:nvPr>
        </p:nvSpPr>
        <p:spPr>
          <a:xfrm>
            <a:off x="6478099" y="3391409"/>
            <a:ext cx="2528249" cy="2175457"/>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sp>
        <p:nvSpPr>
          <p:cNvPr id="12" name="Text Placeholder 3">
            <a:extLst>
              <a:ext uri="{FF2B5EF4-FFF2-40B4-BE49-F238E27FC236}">
                <a16:creationId xmlns:a16="http://schemas.microsoft.com/office/drawing/2014/main" id="{C87F8D9E-0BB7-F906-7378-3D6CF1D72D37}"/>
              </a:ext>
            </a:extLst>
          </p:cNvPr>
          <p:cNvSpPr>
            <a:spLocks noGrp="1"/>
          </p:cNvSpPr>
          <p:nvPr>
            <p:ph type="body" sz="quarter" idx="21" hasCustomPrompt="1"/>
          </p:nvPr>
        </p:nvSpPr>
        <p:spPr>
          <a:xfrm>
            <a:off x="9221300" y="3391409"/>
            <a:ext cx="2528249" cy="2175457"/>
          </a:xfrm>
        </p:spPr>
        <p:txBody>
          <a:bodyPr lIns="0" rIns="0">
            <a:normAutofit/>
          </a:bodyPr>
          <a:lstStyle>
            <a:lvl1pPr marL="0" indent="0">
              <a:buNone/>
              <a:defRPr sz="2400" b="1"/>
            </a:lvl1pPr>
            <a:lvl2pPr marL="457200" indent="0">
              <a:buNone/>
              <a:defRPr sz="1800"/>
            </a:lvl2pPr>
            <a:lvl3pPr marL="914400" indent="0">
              <a:buNone/>
              <a:defRPr sz="1800"/>
            </a:lvl3pPr>
          </a:lstStyle>
          <a:p>
            <a:pPr lvl="0"/>
            <a:r>
              <a:rPr lang="en-US"/>
              <a:t>Text goes here …</a:t>
            </a:r>
          </a:p>
        </p:txBody>
      </p:sp>
      <p:cxnSp>
        <p:nvCxnSpPr>
          <p:cNvPr id="2" name="Straight Connector 1">
            <a:extLst>
              <a:ext uri="{FF2B5EF4-FFF2-40B4-BE49-F238E27FC236}">
                <a16:creationId xmlns:a16="http://schemas.microsoft.com/office/drawing/2014/main" id="{D5C99115-6B72-C340-796D-3E733B71839E}"/>
              </a:ext>
            </a:extLst>
          </p:cNvPr>
          <p:cNvCxnSpPr>
            <a:cxnSpLocks/>
          </p:cNvCxnSpPr>
          <p:nvPr userDrawn="1"/>
        </p:nvCxnSpPr>
        <p:spPr>
          <a:xfrm>
            <a:off x="980876" y="3219434"/>
            <a:ext cx="253907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0D0F604-CA1F-0669-2E3C-6AA4B801DD0A}"/>
              </a:ext>
            </a:extLst>
          </p:cNvPr>
          <p:cNvCxnSpPr>
            <a:cxnSpLocks/>
          </p:cNvCxnSpPr>
          <p:nvPr userDrawn="1"/>
        </p:nvCxnSpPr>
        <p:spPr>
          <a:xfrm>
            <a:off x="3712787" y="3219434"/>
            <a:ext cx="253907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C2D500-9154-9D1F-C8A9-0D0517B59B3D}"/>
              </a:ext>
            </a:extLst>
          </p:cNvPr>
          <p:cNvCxnSpPr>
            <a:cxnSpLocks/>
          </p:cNvCxnSpPr>
          <p:nvPr userDrawn="1"/>
        </p:nvCxnSpPr>
        <p:spPr>
          <a:xfrm>
            <a:off x="6467276" y="3219434"/>
            <a:ext cx="253907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5160B4-2EED-FD55-FFE7-F8A092B935B7}"/>
              </a:ext>
            </a:extLst>
          </p:cNvPr>
          <p:cNvCxnSpPr>
            <a:cxnSpLocks/>
          </p:cNvCxnSpPr>
          <p:nvPr userDrawn="1"/>
        </p:nvCxnSpPr>
        <p:spPr>
          <a:xfrm>
            <a:off x="9187898" y="3219434"/>
            <a:ext cx="253907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ACEB21BC-21F4-9D49-0387-C87A447C1FAA}"/>
              </a:ext>
            </a:extLst>
          </p:cNvPr>
          <p:cNvSpPr>
            <a:spLocks noGrp="1"/>
          </p:cNvSpPr>
          <p:nvPr>
            <p:ph type="body" sz="quarter" idx="22" hasCustomPrompt="1"/>
          </p:nvPr>
        </p:nvSpPr>
        <p:spPr>
          <a:xfrm>
            <a:off x="991699" y="2077152"/>
            <a:ext cx="2528249"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0" name="Text Placeholder 3">
            <a:extLst>
              <a:ext uri="{FF2B5EF4-FFF2-40B4-BE49-F238E27FC236}">
                <a16:creationId xmlns:a16="http://schemas.microsoft.com/office/drawing/2014/main" id="{85DCE979-2646-9A6E-BBB2-970179C136FF}"/>
              </a:ext>
            </a:extLst>
          </p:cNvPr>
          <p:cNvSpPr>
            <a:spLocks noGrp="1"/>
          </p:cNvSpPr>
          <p:nvPr>
            <p:ph type="body" sz="quarter" idx="23" hasCustomPrompt="1"/>
          </p:nvPr>
        </p:nvSpPr>
        <p:spPr>
          <a:xfrm>
            <a:off x="3712321" y="2077152"/>
            <a:ext cx="2528249"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1" name="Text Placeholder 3">
            <a:extLst>
              <a:ext uri="{FF2B5EF4-FFF2-40B4-BE49-F238E27FC236}">
                <a16:creationId xmlns:a16="http://schemas.microsoft.com/office/drawing/2014/main" id="{A0F17997-C88B-CC9B-4471-FD928534E2E9}"/>
              </a:ext>
            </a:extLst>
          </p:cNvPr>
          <p:cNvSpPr>
            <a:spLocks noGrp="1"/>
          </p:cNvSpPr>
          <p:nvPr>
            <p:ph type="body" sz="quarter" idx="24" hasCustomPrompt="1"/>
          </p:nvPr>
        </p:nvSpPr>
        <p:spPr>
          <a:xfrm>
            <a:off x="6466810" y="2077152"/>
            <a:ext cx="2528249"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2" name="Text Placeholder 3">
            <a:extLst>
              <a:ext uri="{FF2B5EF4-FFF2-40B4-BE49-F238E27FC236}">
                <a16:creationId xmlns:a16="http://schemas.microsoft.com/office/drawing/2014/main" id="{4787DC20-676B-B7E2-16D2-8D4A989B8993}"/>
              </a:ext>
            </a:extLst>
          </p:cNvPr>
          <p:cNvSpPr>
            <a:spLocks noGrp="1"/>
          </p:cNvSpPr>
          <p:nvPr>
            <p:ph type="body" sz="quarter" idx="25" hasCustomPrompt="1"/>
          </p:nvPr>
        </p:nvSpPr>
        <p:spPr>
          <a:xfrm>
            <a:off x="9187432" y="2077152"/>
            <a:ext cx="2528249" cy="1126014"/>
          </a:xfrm>
        </p:spPr>
        <p:txBody>
          <a:bodyPr lIns="0" rIns="0" anchor="ctr" anchorCtr="0">
            <a:normAutofit/>
          </a:bodyPr>
          <a:lstStyle>
            <a:lvl1pPr marL="0" indent="0">
              <a:buNone/>
              <a:defRPr sz="8000" b="1">
                <a:solidFill>
                  <a:schemeClr val="accent1"/>
                </a:solidFill>
              </a:defRPr>
            </a:lvl1pPr>
            <a:lvl2pPr marL="457200" indent="0">
              <a:buNone/>
              <a:defRPr sz="1800"/>
            </a:lvl2pPr>
            <a:lvl3pPr marL="914400" indent="0">
              <a:buNone/>
              <a:defRPr sz="1800"/>
            </a:lvl3pPr>
          </a:lstStyle>
          <a:p>
            <a:pPr lvl="0"/>
            <a:r>
              <a:rPr lang="en-US"/>
              <a:t>#1</a:t>
            </a:r>
          </a:p>
        </p:txBody>
      </p:sp>
      <p:sp>
        <p:nvSpPr>
          <p:cNvPr id="3" name="Slide Number Placeholder 4">
            <a:extLst>
              <a:ext uri="{FF2B5EF4-FFF2-40B4-BE49-F238E27FC236}">
                <a16:creationId xmlns:a16="http://schemas.microsoft.com/office/drawing/2014/main" id="{5587C790-D6C0-D378-FD8E-5C267613C46A}"/>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4" name="Picture 3" descr="A blue and white checkered flag&#10;&#10;Description automatically generated">
            <a:extLst>
              <a:ext uri="{FF2B5EF4-FFF2-40B4-BE49-F238E27FC236}">
                <a16:creationId xmlns:a16="http://schemas.microsoft.com/office/drawing/2014/main" id="{3604DA33-9E99-4A29-62B7-894EB4019BAB}"/>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5" name="Picture 4">
            <a:extLst>
              <a:ext uri="{FF2B5EF4-FFF2-40B4-BE49-F238E27FC236}">
                <a16:creationId xmlns:a16="http://schemas.microsoft.com/office/drawing/2014/main" id="{347C5FBF-6C70-243B-0721-B74A98859A27}"/>
              </a:ext>
            </a:extLst>
          </p:cNvPr>
          <p:cNvPicPr>
            <a:picLocks noChangeAspect="1"/>
          </p:cNvPicPr>
          <p:nvPr userDrawn="1"/>
        </p:nvPicPr>
        <p:blipFill>
          <a:blip r:embed="rId4"/>
          <a:srcRect/>
          <a:stretch/>
        </p:blipFill>
        <p:spPr>
          <a:xfrm>
            <a:off x="8937523" y="6461313"/>
            <a:ext cx="396687" cy="396687"/>
          </a:xfrm>
          <a:prstGeom prst="rect">
            <a:avLst/>
          </a:prstGeom>
        </p:spPr>
      </p:pic>
      <p:sp>
        <p:nvSpPr>
          <p:cNvPr id="15" name="Rectangle 14">
            <a:extLst>
              <a:ext uri="{FF2B5EF4-FFF2-40B4-BE49-F238E27FC236}">
                <a16:creationId xmlns:a16="http://schemas.microsoft.com/office/drawing/2014/main" id="{3284C8EE-16B5-EA52-9A98-72533E9D8D43}"/>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6" name="Rectangle 15">
            <a:extLst>
              <a:ext uri="{FF2B5EF4-FFF2-40B4-BE49-F238E27FC236}">
                <a16:creationId xmlns:a16="http://schemas.microsoft.com/office/drawing/2014/main" id="{0971631E-8636-E450-B3CE-46E0E4C0A8DB}"/>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7803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0359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C5BACCB-11A0-E67D-A5BE-F5FD36B3E10C}"/>
              </a:ext>
            </a:extLst>
          </p:cNvPr>
          <p:cNvSpPr>
            <a:spLocks noGrp="1"/>
          </p:cNvSpPr>
          <p:nvPr>
            <p:ph type="body" sz="quarter" idx="10" hasCustomPrompt="1"/>
          </p:nvPr>
        </p:nvSpPr>
        <p:spPr>
          <a:xfrm>
            <a:off x="992355" y="2480848"/>
            <a:ext cx="10757719" cy="1666936"/>
          </a:xfrm>
        </p:spPr>
        <p:txBody>
          <a:bodyPr lIns="0" rIns="0">
            <a:normAutofit/>
          </a:bodyPr>
          <a:lstStyle>
            <a:lvl1pPr marL="0" indent="0" algn="l">
              <a:lnSpc>
                <a:spcPts val="5600"/>
              </a:lnSpc>
              <a:buFontTx/>
              <a:buNone/>
              <a:defRPr sz="6000"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Blue Title Slide </a:t>
            </a:r>
            <a:br>
              <a:rPr lang="en-US"/>
            </a:br>
            <a:r>
              <a:rPr lang="en-US"/>
              <a:t>without Photo</a:t>
            </a:r>
          </a:p>
        </p:txBody>
      </p:sp>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15072"/>
            <a:ext cx="10757718" cy="332399"/>
          </a:xfrm>
        </p:spPr>
        <p:txBody>
          <a:bodyPr wrap="square" lIns="0" tIns="0" rIns="0" bIns="0">
            <a:normAutofit/>
          </a:bodyPr>
          <a:lstStyle>
            <a:lvl1pPr marL="0" indent="0" algn="l">
              <a:buFontTx/>
              <a:buNone/>
              <a:defRPr sz="2000" b="1">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7" y="5624358"/>
            <a:ext cx="10757718" cy="332399"/>
          </a:xfrm>
        </p:spPr>
        <p:txBody>
          <a:bodyPr wrap="square" lIns="0" tIns="0" rIns="0" bIns="0">
            <a:normAutofit/>
          </a:bodyPr>
          <a:lstStyle>
            <a:lvl1pPr marL="0" indent="0" algn="l">
              <a:buFontTx/>
              <a:buNone/>
              <a:defRPr sz="20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9408"/>
            <a:ext cx="277792" cy="629919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77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1965617"/>
            <a:ext cx="10757718" cy="249299"/>
          </a:xfrm>
        </p:spPr>
        <p:txBody>
          <a:bodyPr wrap="square" lIns="0" tIns="0" rIns="0" bIns="0">
            <a:noAutofit/>
          </a:bodyPr>
          <a:lstStyle>
            <a:lvl1pPr marL="0" indent="0" algn="l">
              <a:buFontTx/>
              <a:buNone/>
              <a:defRPr sz="1600" b="0">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cxnSp>
        <p:nvCxnSpPr>
          <p:cNvPr id="21" name="Straight Connector 20">
            <a:extLst>
              <a:ext uri="{FF2B5EF4-FFF2-40B4-BE49-F238E27FC236}">
                <a16:creationId xmlns:a16="http://schemas.microsoft.com/office/drawing/2014/main" id="{E31010F5-3AE2-BE59-8F60-AC6E8F9FB14B}"/>
              </a:ext>
            </a:extLst>
          </p:cNvPr>
          <p:cNvCxnSpPr>
            <a:cxnSpLocks/>
          </p:cNvCxnSpPr>
          <p:nvPr userDrawn="1"/>
        </p:nvCxnSpPr>
        <p:spPr>
          <a:xfrm>
            <a:off x="980876" y="4381940"/>
            <a:ext cx="2546095" cy="0"/>
          </a:xfrm>
          <a:prstGeom prst="line">
            <a:avLst/>
          </a:prstGeom>
          <a:ln w="50800" cap="flat">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FB7554F-6CD8-D5F1-1C82-1445CAE97132}"/>
              </a:ext>
            </a:extLst>
          </p:cNvPr>
          <p:cNvPicPr>
            <a:picLocks noChangeAspect="1"/>
          </p:cNvPicPr>
          <p:nvPr userDrawn="1"/>
        </p:nvPicPr>
        <p:blipFill>
          <a:blip r:embed="rId2"/>
          <a:srcRect/>
          <a:stretch/>
        </p:blipFill>
        <p:spPr>
          <a:xfrm>
            <a:off x="9342689" y="362275"/>
            <a:ext cx="2407715" cy="748648"/>
          </a:xfrm>
          <a:prstGeom prst="rect">
            <a:avLst/>
          </a:prstGeom>
        </p:spPr>
      </p:pic>
      <p:pic>
        <p:nvPicPr>
          <p:cNvPr id="2" name="Picture 1">
            <a:extLst>
              <a:ext uri="{FF2B5EF4-FFF2-40B4-BE49-F238E27FC236}">
                <a16:creationId xmlns:a16="http://schemas.microsoft.com/office/drawing/2014/main" id="{82A21BA2-CBD7-B394-A582-C09ACEB5A1B6}"/>
              </a:ext>
            </a:extLst>
          </p:cNvPr>
          <p:cNvPicPr>
            <a:picLocks noChangeAspect="1"/>
          </p:cNvPicPr>
          <p:nvPr userDrawn="1"/>
        </p:nvPicPr>
        <p:blipFill>
          <a:blip r:embed="rId3"/>
          <a:srcRect/>
          <a:stretch/>
        </p:blipFill>
        <p:spPr>
          <a:xfrm>
            <a:off x="277792" y="1607"/>
            <a:ext cx="277793" cy="277793"/>
          </a:xfrm>
          <a:prstGeom prst="rect">
            <a:avLst/>
          </a:prstGeom>
        </p:spPr>
      </p:pic>
      <p:pic>
        <p:nvPicPr>
          <p:cNvPr id="3" name="Picture 2">
            <a:extLst>
              <a:ext uri="{FF2B5EF4-FFF2-40B4-BE49-F238E27FC236}">
                <a16:creationId xmlns:a16="http://schemas.microsoft.com/office/drawing/2014/main" id="{BCCA3AD5-ADF2-3BC8-C2BB-2C74DF4CDA54}"/>
              </a:ext>
            </a:extLst>
          </p:cNvPr>
          <p:cNvPicPr>
            <a:picLocks noChangeAspect="1"/>
          </p:cNvPicPr>
          <p:nvPr userDrawn="1"/>
        </p:nvPicPr>
        <p:blipFill>
          <a:blip r:embed="rId3"/>
          <a:srcRect/>
          <a:stretch/>
        </p:blipFill>
        <p:spPr>
          <a:xfrm>
            <a:off x="11795313" y="6183518"/>
            <a:ext cx="396687" cy="396687"/>
          </a:xfrm>
          <a:prstGeom prst="rect">
            <a:avLst/>
          </a:prstGeom>
        </p:spPr>
      </p:pic>
    </p:spTree>
    <p:extLst>
      <p:ext uri="{BB962C8B-B14F-4D97-AF65-F5344CB8AC3E}">
        <p14:creationId xmlns:p14="http://schemas.microsoft.com/office/powerpoint/2010/main" val="17269790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 State Map">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ennsylvania State Map</a:t>
            </a:r>
          </a:p>
        </p:txBody>
      </p:sp>
      <p:sp>
        <p:nvSpPr>
          <p:cNvPr id="20" name="Rectangle 19">
            <a:extLst>
              <a:ext uri="{FF2B5EF4-FFF2-40B4-BE49-F238E27FC236}">
                <a16:creationId xmlns:a16="http://schemas.microsoft.com/office/drawing/2014/main" id="{DF416B0D-2499-002F-7721-8DA278880EFD}"/>
              </a:ext>
            </a:extLst>
          </p:cNvPr>
          <p:cNvSpPr/>
          <p:nvPr userDrawn="1"/>
        </p:nvSpPr>
        <p:spPr>
          <a:xfrm rot="5400000">
            <a:off x="4411715" y="2332192"/>
            <a:ext cx="391886" cy="86597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3">
            <a:extLst>
              <a:ext uri="{FF2B5EF4-FFF2-40B4-BE49-F238E27FC236}">
                <a16:creationId xmlns:a16="http://schemas.microsoft.com/office/drawing/2014/main" id="{59B13EA6-95FC-4931-D94E-76CD767560A5}"/>
              </a:ext>
            </a:extLst>
          </p:cNvPr>
          <p:cNvSpPr>
            <a:spLocks noGrp="1"/>
          </p:cNvSpPr>
          <p:nvPr>
            <p:ph type="body" sz="quarter" idx="14" hasCustomPrompt="1"/>
          </p:nvPr>
        </p:nvSpPr>
        <p:spPr>
          <a:xfrm>
            <a:off x="992026" y="6466113"/>
            <a:ext cx="7945496" cy="375619"/>
          </a:xfrm>
        </p:spPr>
        <p:txBody>
          <a:bodyPr wrap="square" lIns="0" tIns="0" rIns="0" bIns="0" anchor="ctr" anchorCtr="0">
            <a:noAutofit/>
          </a:bodyPr>
          <a:lstStyle>
            <a:lvl1pPr marL="0" indent="0" algn="l">
              <a:buFontTx/>
              <a:buNone/>
              <a:defRPr sz="12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4" name="Picture 23">
            <a:extLst>
              <a:ext uri="{FF2B5EF4-FFF2-40B4-BE49-F238E27FC236}">
                <a16:creationId xmlns:a16="http://schemas.microsoft.com/office/drawing/2014/main" id="{F794F068-63F6-499E-D216-F39441E6B0A6}"/>
              </a:ext>
            </a:extLst>
          </p:cNvPr>
          <p:cNvPicPr>
            <a:picLocks noChangeAspect="1"/>
          </p:cNvPicPr>
          <p:nvPr userDrawn="1"/>
        </p:nvPicPr>
        <p:blipFill>
          <a:blip r:embed="rId2"/>
          <a:srcRect/>
          <a:stretch/>
        </p:blipFill>
        <p:spPr>
          <a:xfrm>
            <a:off x="9615592" y="6042015"/>
            <a:ext cx="2298616" cy="714726"/>
          </a:xfrm>
          <a:prstGeom prst="rect">
            <a:avLst/>
          </a:prstGeom>
        </p:spPr>
      </p:pic>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334209" y="1923854"/>
            <a:ext cx="2415865" cy="2175458"/>
          </a:xfrm>
        </p:spPr>
        <p:txBody>
          <a:bodyPr lIns="0" rIns="0">
            <a:normAutofit/>
          </a:bodyPr>
          <a:lstStyle>
            <a:lvl1pPr marL="0" indent="0">
              <a:buNone/>
              <a:defRPr sz="2000" b="1"/>
            </a:lvl1pPr>
            <a:lvl2pPr marL="457200" indent="0">
              <a:buNone/>
              <a:defRPr sz="1800"/>
            </a:lvl2pPr>
            <a:lvl3pPr marL="914400" indent="0">
              <a:buNone/>
              <a:defRPr sz="1800"/>
            </a:lvl3pPr>
          </a:lstStyle>
          <a:p>
            <a:pPr lvl="0"/>
            <a:r>
              <a:rPr lang="en-US"/>
              <a:t>Text goes here …</a:t>
            </a:r>
          </a:p>
        </p:txBody>
      </p:sp>
      <p:cxnSp>
        <p:nvCxnSpPr>
          <p:cNvPr id="28" name="Straight Connector 27">
            <a:extLst>
              <a:ext uri="{FF2B5EF4-FFF2-40B4-BE49-F238E27FC236}">
                <a16:creationId xmlns:a16="http://schemas.microsoft.com/office/drawing/2014/main" id="{254E42BE-DF6D-668F-8B41-99AFB1495989}"/>
              </a:ext>
            </a:extLst>
          </p:cNvPr>
          <p:cNvCxnSpPr>
            <a:cxnSpLocks/>
          </p:cNvCxnSpPr>
          <p:nvPr userDrawn="1"/>
        </p:nvCxnSpPr>
        <p:spPr>
          <a:xfrm>
            <a:off x="980876" y="1198726"/>
            <a:ext cx="366978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descr="A blue map with white text&#10;&#10;Description automatically generated">
            <a:extLst>
              <a:ext uri="{FF2B5EF4-FFF2-40B4-BE49-F238E27FC236}">
                <a16:creationId xmlns:a16="http://schemas.microsoft.com/office/drawing/2014/main" id="{89F00AF4-5EA3-85A6-C75A-9F7866445B82}"/>
              </a:ext>
            </a:extLst>
          </p:cNvPr>
          <p:cNvPicPr>
            <a:picLocks noChangeAspect="1"/>
          </p:cNvPicPr>
          <p:nvPr userDrawn="1"/>
        </p:nvPicPr>
        <p:blipFill>
          <a:blip r:embed="rId3"/>
          <a:stretch>
            <a:fillRect/>
          </a:stretch>
        </p:blipFill>
        <p:spPr>
          <a:xfrm>
            <a:off x="416690" y="1314940"/>
            <a:ext cx="8783733" cy="4940850"/>
          </a:xfrm>
          <a:prstGeom prst="rect">
            <a:avLst/>
          </a:prstGeom>
        </p:spPr>
      </p:pic>
      <p:sp>
        <p:nvSpPr>
          <p:cNvPr id="2" name="Slide Number Placeholder 4">
            <a:extLst>
              <a:ext uri="{FF2B5EF4-FFF2-40B4-BE49-F238E27FC236}">
                <a16:creationId xmlns:a16="http://schemas.microsoft.com/office/drawing/2014/main" id="{C996C664-A7F6-3D94-5037-21943AD9C832}"/>
              </a:ext>
            </a:extLst>
          </p:cNvPr>
          <p:cNvSpPr>
            <a:spLocks noGrp="1"/>
          </p:cNvSpPr>
          <p:nvPr>
            <p:ph type="sldNum" sz="quarter" idx="4"/>
          </p:nvPr>
        </p:nvSpPr>
        <p:spPr>
          <a:xfrm>
            <a:off x="5987089" y="6471359"/>
            <a:ext cx="2743200" cy="365125"/>
          </a:xfrm>
        </p:spPr>
        <p:txBody>
          <a:body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t>‹#›</a:t>
            </a:fld>
            <a:endParaRPr lang="en-US" b="1">
              <a:solidFill>
                <a:schemeClr val="accent2"/>
              </a:solidFill>
              <a:latin typeface="Arial" panose="020B0604020202020204" pitchFamily="34" charset="0"/>
              <a:cs typeface="Arial" panose="020B0604020202020204" pitchFamily="34" charset="0"/>
            </a:endParaRPr>
          </a:p>
        </p:txBody>
      </p:sp>
      <p:pic>
        <p:nvPicPr>
          <p:cNvPr id="3" name="Picture 2" descr="A blue and white checkered flag&#10;&#10;Description automatically generated">
            <a:extLst>
              <a:ext uri="{FF2B5EF4-FFF2-40B4-BE49-F238E27FC236}">
                <a16:creationId xmlns:a16="http://schemas.microsoft.com/office/drawing/2014/main" id="{05F0E620-3733-EF2C-D737-289548BF80FF}"/>
              </a:ext>
            </a:extLst>
          </p:cNvPr>
          <p:cNvPicPr>
            <a:picLocks noChangeAspect="1"/>
          </p:cNvPicPr>
          <p:nvPr userDrawn="1"/>
        </p:nvPicPr>
        <p:blipFill>
          <a:blip r:embed="rId4"/>
          <a:stretch>
            <a:fillRect/>
          </a:stretch>
        </p:blipFill>
        <p:spPr>
          <a:xfrm>
            <a:off x="277792" y="0"/>
            <a:ext cx="277793" cy="277793"/>
          </a:xfrm>
          <a:prstGeom prst="rect">
            <a:avLst/>
          </a:prstGeom>
        </p:spPr>
      </p:pic>
      <p:pic>
        <p:nvPicPr>
          <p:cNvPr id="5" name="Picture 4">
            <a:extLst>
              <a:ext uri="{FF2B5EF4-FFF2-40B4-BE49-F238E27FC236}">
                <a16:creationId xmlns:a16="http://schemas.microsoft.com/office/drawing/2014/main" id="{826CF825-D86C-A889-D7D5-C4F90DD2AB21}"/>
              </a:ext>
            </a:extLst>
          </p:cNvPr>
          <p:cNvPicPr>
            <a:picLocks noChangeAspect="1"/>
          </p:cNvPicPr>
          <p:nvPr userDrawn="1"/>
        </p:nvPicPr>
        <p:blipFill>
          <a:blip r:embed="rId5"/>
          <a:srcRect/>
          <a:stretch/>
        </p:blipFill>
        <p:spPr>
          <a:xfrm>
            <a:off x="8937523" y="6461313"/>
            <a:ext cx="396687" cy="396687"/>
          </a:xfrm>
          <a:prstGeom prst="rect">
            <a:avLst/>
          </a:prstGeom>
        </p:spPr>
      </p:pic>
      <p:sp>
        <p:nvSpPr>
          <p:cNvPr id="9" name="Rectangle 8">
            <a:extLst>
              <a:ext uri="{FF2B5EF4-FFF2-40B4-BE49-F238E27FC236}">
                <a16:creationId xmlns:a16="http://schemas.microsoft.com/office/drawing/2014/main" id="{3E96959F-3F2C-873A-5E7D-D95CD4D85987}"/>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0" name="Rectangle 9">
            <a:extLst>
              <a:ext uri="{FF2B5EF4-FFF2-40B4-BE49-F238E27FC236}">
                <a16:creationId xmlns:a16="http://schemas.microsoft.com/office/drawing/2014/main" id="{59456B25-B9F5-3773-9E05-EBD8703CB25C}"/>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32635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White Thank You">
    <p:bg>
      <p:bgPr>
        <a:solidFill>
          <a:schemeClr val="bg1"/>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6" y="5115072"/>
            <a:ext cx="10758377"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6" y="1953809"/>
            <a:ext cx="10757719" cy="249299"/>
          </a:xfrm>
        </p:spPr>
        <p:txBody>
          <a:bodyPr wrap="square" lIns="0" tIns="0" rIns="0" bIns="0">
            <a:noAutofit/>
          </a:bodyPr>
          <a:lstStyle>
            <a:lvl1pPr marL="0" indent="0" algn="l">
              <a:buFontTx/>
              <a:buNone/>
              <a:defRPr sz="1600" b="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2485674"/>
            <a:ext cx="10757719" cy="1666936"/>
          </a:xfrm>
        </p:spPr>
        <p:txBody>
          <a:bodyPr lIns="0" rIns="0">
            <a:normAutofit/>
          </a:bodyPr>
          <a:lstStyle>
            <a:lvl1pPr marL="0" indent="0" algn="l">
              <a:lnSpc>
                <a:spcPts val="5600"/>
              </a:lnSpc>
              <a:buFontTx/>
              <a:buNone/>
              <a:defRPr sz="6000" b="1">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 you.</a:t>
            </a:r>
          </a:p>
        </p:txBody>
      </p:sp>
      <p:pic>
        <p:nvPicPr>
          <p:cNvPr id="31" name="Picture 30">
            <a:extLst>
              <a:ext uri="{FF2B5EF4-FFF2-40B4-BE49-F238E27FC236}">
                <a16:creationId xmlns:a16="http://schemas.microsoft.com/office/drawing/2014/main" id="{4275037A-211A-0260-E975-502EF3457506}"/>
              </a:ext>
            </a:extLst>
          </p:cNvPr>
          <p:cNvPicPr>
            <a:picLocks noChangeAspect="1"/>
          </p:cNvPicPr>
          <p:nvPr userDrawn="1"/>
        </p:nvPicPr>
        <p:blipFill>
          <a:blip r:embed="rId2"/>
          <a:srcRect/>
          <a:stretch/>
        </p:blipFill>
        <p:spPr>
          <a:xfrm>
            <a:off x="9342689" y="362275"/>
            <a:ext cx="2407715" cy="748649"/>
          </a:xfrm>
          <a:prstGeom prst="rect">
            <a:avLst/>
          </a:prstGeom>
        </p:spPr>
      </p:pic>
      <p:sp>
        <p:nvSpPr>
          <p:cNvPr id="9" name="Rectangle 8">
            <a:extLst>
              <a:ext uri="{FF2B5EF4-FFF2-40B4-BE49-F238E27FC236}">
                <a16:creationId xmlns:a16="http://schemas.microsoft.com/office/drawing/2014/main" id="{77D45C94-FB22-DB67-8B12-BA7FC3BF71BF}"/>
              </a:ext>
            </a:extLst>
          </p:cNvPr>
          <p:cNvSpPr/>
          <p:nvPr userDrawn="1"/>
        </p:nvSpPr>
        <p:spPr>
          <a:xfrm>
            <a:off x="0" y="276932"/>
            <a:ext cx="277792" cy="63007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C80252D5-EE17-72EF-BB70-A64AACC24DEE}"/>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A89B169-7AA1-0AE3-A738-B266F8D2D807}"/>
              </a:ext>
            </a:extLst>
          </p:cNvPr>
          <p:cNvSpPr/>
          <p:nvPr userDrawn="1"/>
        </p:nvSpPr>
        <p:spPr>
          <a:xfrm>
            <a:off x="11914206" y="6580206"/>
            <a:ext cx="277794" cy="2777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ue and white checkered flag&#10;&#10;Description automatically generated">
            <a:extLst>
              <a:ext uri="{FF2B5EF4-FFF2-40B4-BE49-F238E27FC236}">
                <a16:creationId xmlns:a16="http://schemas.microsoft.com/office/drawing/2014/main" id="{E7BBC2DF-BC4A-D79C-DCF6-9F42DA8B391C}"/>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7" name="Picture 6" descr="A yellow and white squares&#10;&#10;Description automatically generated">
            <a:extLst>
              <a:ext uri="{FF2B5EF4-FFF2-40B4-BE49-F238E27FC236}">
                <a16:creationId xmlns:a16="http://schemas.microsoft.com/office/drawing/2014/main" id="{638A24B0-6E1E-DCEE-258F-F85CC34C5C49}"/>
              </a:ext>
            </a:extLst>
          </p:cNvPr>
          <p:cNvPicPr>
            <a:picLocks noChangeAspect="1"/>
          </p:cNvPicPr>
          <p:nvPr userDrawn="1"/>
        </p:nvPicPr>
        <p:blipFill>
          <a:blip r:embed="rId4"/>
          <a:stretch>
            <a:fillRect/>
          </a:stretch>
        </p:blipFill>
        <p:spPr>
          <a:xfrm>
            <a:off x="11795313" y="6183518"/>
            <a:ext cx="396687" cy="396687"/>
          </a:xfrm>
          <a:prstGeom prst="rect">
            <a:avLst/>
          </a:prstGeom>
        </p:spPr>
      </p:pic>
    </p:spTree>
    <p:extLst>
      <p:ext uri="{BB962C8B-B14F-4D97-AF65-F5344CB8AC3E}">
        <p14:creationId xmlns:p14="http://schemas.microsoft.com/office/powerpoint/2010/main" val="1316784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Blue Questions">
    <p:bg>
      <p:bgPr>
        <a:solidFill>
          <a:srgbClr val="00359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C5BACCB-11A0-E67D-A5BE-F5FD36B3E10C}"/>
              </a:ext>
            </a:extLst>
          </p:cNvPr>
          <p:cNvSpPr>
            <a:spLocks noGrp="1"/>
          </p:cNvSpPr>
          <p:nvPr>
            <p:ph type="body" sz="quarter" idx="10" hasCustomPrompt="1"/>
          </p:nvPr>
        </p:nvSpPr>
        <p:spPr>
          <a:xfrm>
            <a:off x="992355" y="2480848"/>
            <a:ext cx="10757719" cy="948148"/>
          </a:xfrm>
        </p:spPr>
        <p:txBody>
          <a:bodyPr lIns="0" rIns="0">
            <a:normAutofit/>
          </a:bodyPr>
          <a:lstStyle>
            <a:lvl1pPr marL="0" indent="0" algn="l">
              <a:lnSpc>
                <a:spcPts val="5600"/>
              </a:lnSpc>
              <a:buFontTx/>
              <a:buNone/>
              <a:defRPr sz="6000"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Questions?</a:t>
            </a:r>
          </a:p>
        </p:txBody>
      </p:sp>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15072"/>
            <a:ext cx="10757718" cy="332399"/>
          </a:xfrm>
        </p:spPr>
        <p:txBody>
          <a:bodyPr wrap="square" lIns="0" tIns="0" rIns="0" bIns="0">
            <a:normAutofit/>
          </a:bodyPr>
          <a:lstStyle>
            <a:lvl1pPr marL="0" indent="0" algn="l">
              <a:buFontTx/>
              <a:buNone/>
              <a:defRPr sz="2000" b="1">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1965617"/>
            <a:ext cx="10757718" cy="249299"/>
          </a:xfrm>
        </p:spPr>
        <p:txBody>
          <a:bodyPr wrap="square" lIns="0" tIns="0" rIns="0" bIns="0">
            <a:noAutofit/>
          </a:bodyPr>
          <a:lstStyle>
            <a:lvl1pPr marL="0" indent="0" algn="l">
              <a:buFontTx/>
              <a:buNone/>
              <a:defRPr sz="1600" b="0">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cxnSp>
        <p:nvCxnSpPr>
          <p:cNvPr id="21" name="Straight Connector 20">
            <a:extLst>
              <a:ext uri="{FF2B5EF4-FFF2-40B4-BE49-F238E27FC236}">
                <a16:creationId xmlns:a16="http://schemas.microsoft.com/office/drawing/2014/main" id="{E31010F5-3AE2-BE59-8F60-AC6E8F9FB14B}"/>
              </a:ext>
            </a:extLst>
          </p:cNvPr>
          <p:cNvCxnSpPr>
            <a:cxnSpLocks/>
          </p:cNvCxnSpPr>
          <p:nvPr userDrawn="1"/>
        </p:nvCxnSpPr>
        <p:spPr>
          <a:xfrm>
            <a:off x="980876" y="3428996"/>
            <a:ext cx="2546095" cy="0"/>
          </a:xfrm>
          <a:prstGeom prst="line">
            <a:avLst/>
          </a:prstGeom>
          <a:ln w="50800" cap="flat">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FB7554F-6CD8-D5F1-1C82-1445CAE97132}"/>
              </a:ext>
            </a:extLst>
          </p:cNvPr>
          <p:cNvPicPr>
            <a:picLocks noChangeAspect="1"/>
          </p:cNvPicPr>
          <p:nvPr userDrawn="1"/>
        </p:nvPicPr>
        <p:blipFill>
          <a:blip r:embed="rId2"/>
          <a:srcRect/>
          <a:stretch/>
        </p:blipFill>
        <p:spPr>
          <a:xfrm>
            <a:off x="9342689" y="362275"/>
            <a:ext cx="2407715" cy="748648"/>
          </a:xfrm>
          <a:prstGeom prst="rect">
            <a:avLst/>
          </a:prstGeom>
        </p:spPr>
      </p:pic>
      <p:pic>
        <p:nvPicPr>
          <p:cNvPr id="2" name="Picture 1">
            <a:extLst>
              <a:ext uri="{FF2B5EF4-FFF2-40B4-BE49-F238E27FC236}">
                <a16:creationId xmlns:a16="http://schemas.microsoft.com/office/drawing/2014/main" id="{BC4CC0A7-F07D-EBD8-DDE5-D3FF01303006}"/>
              </a:ext>
            </a:extLst>
          </p:cNvPr>
          <p:cNvPicPr>
            <a:picLocks noChangeAspect="1"/>
          </p:cNvPicPr>
          <p:nvPr userDrawn="1"/>
        </p:nvPicPr>
        <p:blipFill>
          <a:blip r:embed="rId3"/>
          <a:srcRect/>
          <a:stretch/>
        </p:blipFill>
        <p:spPr>
          <a:xfrm>
            <a:off x="277792" y="1607"/>
            <a:ext cx="277793" cy="277793"/>
          </a:xfrm>
          <a:prstGeom prst="rect">
            <a:avLst/>
          </a:prstGeom>
        </p:spPr>
      </p:pic>
      <p:pic>
        <p:nvPicPr>
          <p:cNvPr id="3" name="Picture 2">
            <a:extLst>
              <a:ext uri="{FF2B5EF4-FFF2-40B4-BE49-F238E27FC236}">
                <a16:creationId xmlns:a16="http://schemas.microsoft.com/office/drawing/2014/main" id="{BCDFC990-FDD5-4574-AA8A-D1DA181F93AF}"/>
              </a:ext>
            </a:extLst>
          </p:cNvPr>
          <p:cNvPicPr>
            <a:picLocks noChangeAspect="1"/>
          </p:cNvPicPr>
          <p:nvPr userDrawn="1"/>
        </p:nvPicPr>
        <p:blipFill>
          <a:blip r:embed="rId3"/>
          <a:srcRect/>
          <a:stretch/>
        </p:blipFill>
        <p:spPr>
          <a:xfrm>
            <a:off x="11795313" y="6183518"/>
            <a:ext cx="396687" cy="396687"/>
          </a:xfrm>
          <a:prstGeom prst="rect">
            <a:avLst/>
          </a:prstGeom>
        </p:spPr>
      </p:pic>
      <p:sp>
        <p:nvSpPr>
          <p:cNvPr id="6" name="Rectangle 5">
            <a:extLst>
              <a:ext uri="{FF2B5EF4-FFF2-40B4-BE49-F238E27FC236}">
                <a16:creationId xmlns:a16="http://schemas.microsoft.com/office/drawing/2014/main" id="{7B03A0DC-9489-EA9B-34E8-069F06B0AF0A}"/>
              </a:ext>
            </a:extLst>
          </p:cNvPr>
          <p:cNvSpPr/>
          <p:nvPr userDrawn="1"/>
        </p:nvSpPr>
        <p:spPr>
          <a:xfrm>
            <a:off x="0" y="276932"/>
            <a:ext cx="277792" cy="63007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7C8A5963-63B1-659E-6168-44AD14199691}"/>
              </a:ext>
            </a:extLst>
          </p:cNvPr>
          <p:cNvSpPr/>
          <p:nvPr userDrawn="1"/>
        </p:nvSpPr>
        <p:spPr>
          <a:xfrm>
            <a:off x="0" y="0"/>
            <a:ext cx="277794" cy="2769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89013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Gold Thank You">
    <p:bg>
      <p:bgPr>
        <a:solidFill>
          <a:schemeClr val="accent2"/>
        </a:solidFill>
        <a:effectLst/>
      </p:bgPr>
    </p:bg>
    <p:spTree>
      <p:nvGrpSpPr>
        <p:cNvPr id="1" name=""/>
        <p:cNvGrpSpPr/>
        <p:nvPr/>
      </p:nvGrpSpPr>
      <p:grpSpPr>
        <a:xfrm>
          <a:off x="0" y="0"/>
          <a:ext cx="0" cy="0"/>
          <a:chOff x="0" y="0"/>
          <a:chExt cx="0" cy="0"/>
        </a:xfrm>
      </p:grpSpPr>
      <p:pic>
        <p:nvPicPr>
          <p:cNvPr id="24" name="Picture 23" descr="A yellow surface with a black border&#10;&#10;Description automatically generated with medium confidence">
            <a:extLst>
              <a:ext uri="{FF2B5EF4-FFF2-40B4-BE49-F238E27FC236}">
                <a16:creationId xmlns:a16="http://schemas.microsoft.com/office/drawing/2014/main" id="{1D5C38DC-3007-7244-816B-56782237BE61}"/>
              </a:ext>
            </a:extLst>
          </p:cNvPr>
          <p:cNvPicPr>
            <a:picLocks noChangeAspect="1"/>
          </p:cNvPicPr>
          <p:nvPr userDrawn="1"/>
        </p:nvPicPr>
        <p:blipFill rotWithShape="1">
          <a:blip r:embed="rId2"/>
          <a:srcRect t="45522"/>
          <a:stretch/>
        </p:blipFill>
        <p:spPr>
          <a:xfrm>
            <a:off x="138896" y="4630706"/>
            <a:ext cx="12053104" cy="1947023"/>
          </a:xfrm>
          <a:prstGeom prst="rect">
            <a:avLst/>
          </a:prstGeom>
        </p:spPr>
      </p:pic>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6" y="5115072"/>
            <a:ext cx="10758377"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6" y="1953809"/>
            <a:ext cx="10757719" cy="249299"/>
          </a:xfrm>
        </p:spPr>
        <p:txBody>
          <a:bodyPr wrap="square" lIns="0" tIns="0" rIns="0" bIns="0">
            <a:noAutofit/>
          </a:bodyPr>
          <a:lstStyle>
            <a:lvl1pPr marL="0" indent="0" algn="l">
              <a:buFontTx/>
              <a:buNone/>
              <a:defRPr sz="1600" b="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2485674"/>
            <a:ext cx="10757719" cy="1666936"/>
          </a:xfrm>
        </p:spPr>
        <p:txBody>
          <a:bodyPr lIns="0" rIns="0">
            <a:normAutofit/>
          </a:bodyPr>
          <a:lstStyle>
            <a:lvl1pPr marL="0" indent="0" algn="l">
              <a:lnSpc>
                <a:spcPts val="5600"/>
              </a:lnSpc>
              <a:buFontTx/>
              <a:buNone/>
              <a:defRPr sz="6000" b="1">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 you.</a:t>
            </a:r>
          </a:p>
        </p:txBody>
      </p:sp>
      <p:pic>
        <p:nvPicPr>
          <p:cNvPr id="31" name="Picture 30">
            <a:extLst>
              <a:ext uri="{FF2B5EF4-FFF2-40B4-BE49-F238E27FC236}">
                <a16:creationId xmlns:a16="http://schemas.microsoft.com/office/drawing/2014/main" id="{4275037A-211A-0260-E975-502EF3457506}"/>
              </a:ext>
            </a:extLst>
          </p:cNvPr>
          <p:cNvPicPr>
            <a:picLocks noChangeAspect="1"/>
          </p:cNvPicPr>
          <p:nvPr userDrawn="1"/>
        </p:nvPicPr>
        <p:blipFill>
          <a:blip r:embed="rId3"/>
          <a:srcRect/>
          <a:stretch/>
        </p:blipFill>
        <p:spPr>
          <a:xfrm>
            <a:off x="9342689" y="362275"/>
            <a:ext cx="2407715" cy="748649"/>
          </a:xfrm>
          <a:prstGeom prst="rect">
            <a:avLst/>
          </a:prstGeom>
        </p:spPr>
      </p:pic>
      <p:pic>
        <p:nvPicPr>
          <p:cNvPr id="3" name="Picture 2">
            <a:extLst>
              <a:ext uri="{FF2B5EF4-FFF2-40B4-BE49-F238E27FC236}">
                <a16:creationId xmlns:a16="http://schemas.microsoft.com/office/drawing/2014/main" id="{33B684C4-7AF4-5F90-62B2-6406750E9A67}"/>
              </a:ext>
            </a:extLst>
          </p:cNvPr>
          <p:cNvPicPr>
            <a:picLocks noChangeAspect="1"/>
          </p:cNvPicPr>
          <p:nvPr userDrawn="1"/>
        </p:nvPicPr>
        <p:blipFill>
          <a:blip r:embed="rId4"/>
          <a:srcRect/>
          <a:stretch/>
        </p:blipFill>
        <p:spPr>
          <a:xfrm>
            <a:off x="277792" y="1607"/>
            <a:ext cx="277793" cy="277793"/>
          </a:xfrm>
          <a:prstGeom prst="rect">
            <a:avLst/>
          </a:prstGeom>
        </p:spPr>
      </p:pic>
      <p:pic>
        <p:nvPicPr>
          <p:cNvPr id="4" name="Picture 3">
            <a:extLst>
              <a:ext uri="{FF2B5EF4-FFF2-40B4-BE49-F238E27FC236}">
                <a16:creationId xmlns:a16="http://schemas.microsoft.com/office/drawing/2014/main" id="{317A2DD4-5569-DCE6-8C65-0252143A76BD}"/>
              </a:ext>
            </a:extLst>
          </p:cNvPr>
          <p:cNvPicPr>
            <a:picLocks noChangeAspect="1"/>
          </p:cNvPicPr>
          <p:nvPr userDrawn="1"/>
        </p:nvPicPr>
        <p:blipFill>
          <a:blip r:embed="rId4"/>
          <a:srcRect/>
          <a:stretch/>
        </p:blipFill>
        <p:spPr>
          <a:xfrm>
            <a:off x="11795313" y="6183519"/>
            <a:ext cx="396687" cy="396687"/>
          </a:xfrm>
          <a:prstGeom prst="rect">
            <a:avLst/>
          </a:prstGeom>
        </p:spPr>
      </p:pic>
      <p:sp>
        <p:nvSpPr>
          <p:cNvPr id="9" name="Rectangle 8">
            <a:extLst>
              <a:ext uri="{FF2B5EF4-FFF2-40B4-BE49-F238E27FC236}">
                <a16:creationId xmlns:a16="http://schemas.microsoft.com/office/drawing/2014/main" id="{77D45C94-FB22-DB67-8B12-BA7FC3BF71BF}"/>
              </a:ext>
            </a:extLst>
          </p:cNvPr>
          <p:cNvSpPr/>
          <p:nvPr userDrawn="1"/>
        </p:nvSpPr>
        <p:spPr>
          <a:xfrm>
            <a:off x="0" y="276932"/>
            <a:ext cx="277792" cy="6300797"/>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7D77EF01-9B43-B49F-0496-4371143CFBA0}"/>
              </a:ext>
            </a:extLst>
          </p:cNvPr>
          <p:cNvSpPr/>
          <p:nvPr userDrawn="1"/>
        </p:nvSpPr>
        <p:spPr>
          <a:xfrm>
            <a:off x="0" y="0"/>
            <a:ext cx="277794" cy="2769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8213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Whi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AB57D5-15A0-E41D-7E0D-BA7AA53223AC}"/>
              </a:ext>
            </a:extLst>
          </p:cNvPr>
          <p:cNvSpPr/>
          <p:nvPr userDrawn="1"/>
        </p:nvSpPr>
        <p:spPr>
          <a:xfrm rot="5400000">
            <a:off x="5957103" y="900897"/>
            <a:ext cx="277792" cy="116364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3">
            <a:extLst>
              <a:ext uri="{FF2B5EF4-FFF2-40B4-BE49-F238E27FC236}">
                <a16:creationId xmlns:a16="http://schemas.microsoft.com/office/drawing/2014/main" id="{13C50966-A99F-798D-C58F-0D9886F67402}"/>
              </a:ext>
            </a:extLst>
          </p:cNvPr>
          <p:cNvSpPr>
            <a:spLocks noGrp="1"/>
          </p:cNvSpPr>
          <p:nvPr>
            <p:ph type="body" sz="quarter" idx="12" hasCustomPrompt="1"/>
          </p:nvPr>
        </p:nvSpPr>
        <p:spPr>
          <a:xfrm>
            <a:off x="992027" y="5115072"/>
            <a:ext cx="10757718" cy="332399"/>
          </a:xfrm>
        </p:spPr>
        <p:txBody>
          <a:bodyPr wrap="square" lIns="0" tIns="0" rIns="0" bIns="0">
            <a:normAutofit/>
          </a:bodyPr>
          <a:lstStyle>
            <a:lvl1pPr marL="0" indent="0" algn="ctr">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4" name="Text Placeholder 13">
            <a:extLst>
              <a:ext uri="{FF2B5EF4-FFF2-40B4-BE49-F238E27FC236}">
                <a16:creationId xmlns:a16="http://schemas.microsoft.com/office/drawing/2014/main" id="{626E00A5-2C40-95C5-F409-73F2D3F39934}"/>
              </a:ext>
            </a:extLst>
          </p:cNvPr>
          <p:cNvSpPr>
            <a:spLocks noGrp="1"/>
          </p:cNvSpPr>
          <p:nvPr>
            <p:ph type="body" sz="quarter" idx="14" hasCustomPrompt="1"/>
          </p:nvPr>
        </p:nvSpPr>
        <p:spPr>
          <a:xfrm>
            <a:off x="992027" y="4741122"/>
            <a:ext cx="10757718" cy="249299"/>
          </a:xfrm>
        </p:spPr>
        <p:txBody>
          <a:bodyPr wrap="square" lIns="0" tIns="0" rIns="0" bIns="0">
            <a:noAutofit/>
          </a:bodyPr>
          <a:lstStyle>
            <a:lvl1pPr marL="0" indent="0" algn="ctr">
              <a:buFontTx/>
              <a:buNone/>
              <a:defRPr sz="16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pic>
        <p:nvPicPr>
          <p:cNvPr id="5" name="Picture 4">
            <a:extLst>
              <a:ext uri="{FF2B5EF4-FFF2-40B4-BE49-F238E27FC236}">
                <a16:creationId xmlns:a16="http://schemas.microsoft.com/office/drawing/2014/main" id="{B1CF8824-230E-A55C-8536-05C488C109E9}"/>
              </a:ext>
            </a:extLst>
          </p:cNvPr>
          <p:cNvPicPr>
            <a:picLocks noChangeAspect="1"/>
          </p:cNvPicPr>
          <p:nvPr userDrawn="1"/>
        </p:nvPicPr>
        <p:blipFill>
          <a:blip r:embed="rId2"/>
          <a:srcRect/>
          <a:stretch/>
        </p:blipFill>
        <p:spPr>
          <a:xfrm>
            <a:off x="2289051" y="1410529"/>
            <a:ext cx="7613896" cy="2367446"/>
          </a:xfrm>
          <a:prstGeom prst="rect">
            <a:avLst/>
          </a:prstGeom>
        </p:spPr>
      </p:pic>
      <p:sp>
        <p:nvSpPr>
          <p:cNvPr id="15" name="Rectangle 14">
            <a:extLst>
              <a:ext uri="{FF2B5EF4-FFF2-40B4-BE49-F238E27FC236}">
                <a16:creationId xmlns:a16="http://schemas.microsoft.com/office/drawing/2014/main" id="{E11012CB-6557-8DFA-EBD7-51B806C2DD5B}"/>
              </a:ext>
            </a:extLst>
          </p:cNvPr>
          <p:cNvSpPr/>
          <p:nvPr userDrawn="1"/>
        </p:nvSpPr>
        <p:spPr>
          <a:xfrm>
            <a:off x="0" y="276932"/>
            <a:ext cx="277792" cy="63007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2EAE99-90F0-51B9-78DA-406FBD76CBBC}"/>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35A385E-3D46-CD82-151A-810BEDD2C966}"/>
              </a:ext>
            </a:extLst>
          </p:cNvPr>
          <p:cNvSpPr/>
          <p:nvPr userDrawn="1"/>
        </p:nvSpPr>
        <p:spPr>
          <a:xfrm>
            <a:off x="11914206" y="6580206"/>
            <a:ext cx="277794" cy="2777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ue and white checkered flag&#10;&#10;Description automatically generated">
            <a:extLst>
              <a:ext uri="{FF2B5EF4-FFF2-40B4-BE49-F238E27FC236}">
                <a16:creationId xmlns:a16="http://schemas.microsoft.com/office/drawing/2014/main" id="{790B55D0-8469-8BB8-E079-DE201388FBD7}"/>
              </a:ext>
            </a:extLst>
          </p:cNvPr>
          <p:cNvPicPr>
            <a:picLocks noChangeAspect="1"/>
          </p:cNvPicPr>
          <p:nvPr userDrawn="1"/>
        </p:nvPicPr>
        <p:blipFill>
          <a:blip r:embed="rId3"/>
          <a:stretch>
            <a:fillRect/>
          </a:stretch>
        </p:blipFill>
        <p:spPr>
          <a:xfrm>
            <a:off x="277792" y="0"/>
            <a:ext cx="277793" cy="277793"/>
          </a:xfrm>
          <a:prstGeom prst="rect">
            <a:avLst/>
          </a:prstGeom>
        </p:spPr>
      </p:pic>
      <p:pic>
        <p:nvPicPr>
          <p:cNvPr id="11" name="Picture 10" descr="A yellow and white squares&#10;&#10;Description automatically generated">
            <a:extLst>
              <a:ext uri="{FF2B5EF4-FFF2-40B4-BE49-F238E27FC236}">
                <a16:creationId xmlns:a16="http://schemas.microsoft.com/office/drawing/2014/main" id="{8F6CAFD0-D584-550D-77DB-83BF26C5349D}"/>
              </a:ext>
            </a:extLst>
          </p:cNvPr>
          <p:cNvPicPr>
            <a:picLocks noChangeAspect="1"/>
          </p:cNvPicPr>
          <p:nvPr userDrawn="1"/>
        </p:nvPicPr>
        <p:blipFill>
          <a:blip r:embed="rId4"/>
          <a:stretch>
            <a:fillRect/>
          </a:stretch>
        </p:blipFill>
        <p:spPr>
          <a:xfrm>
            <a:off x="11795313" y="6183518"/>
            <a:ext cx="396687" cy="396687"/>
          </a:xfrm>
          <a:prstGeom prst="rect">
            <a:avLst/>
          </a:prstGeom>
        </p:spPr>
      </p:pic>
    </p:spTree>
    <p:extLst>
      <p:ext uri="{BB962C8B-B14F-4D97-AF65-F5344CB8AC3E}">
        <p14:creationId xmlns:p14="http://schemas.microsoft.com/office/powerpoint/2010/main" val="4105535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Blue">
    <p:bg>
      <p:bgPr>
        <a:solidFill>
          <a:srgbClr val="003594"/>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15072"/>
            <a:ext cx="10757718" cy="332399"/>
          </a:xfrm>
        </p:spPr>
        <p:txBody>
          <a:bodyPr wrap="square" lIns="0" tIns="0" rIns="0" bIns="0">
            <a:normAutofit/>
          </a:bodyPr>
          <a:lstStyle>
            <a:lvl1pPr marL="0" indent="0" algn="ctr">
              <a:buFontTx/>
              <a:buNone/>
              <a:defRPr sz="2000" b="1">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4741122"/>
            <a:ext cx="10757718" cy="249299"/>
          </a:xfrm>
        </p:spPr>
        <p:txBody>
          <a:bodyPr wrap="square" lIns="0" tIns="0" rIns="0" bIns="0">
            <a:noAutofit/>
          </a:bodyPr>
          <a:lstStyle>
            <a:lvl1pPr marL="0" indent="0" algn="ctr">
              <a:buFontTx/>
              <a:buNone/>
              <a:defRPr sz="16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pic>
        <p:nvPicPr>
          <p:cNvPr id="24" name="Picture 23">
            <a:extLst>
              <a:ext uri="{FF2B5EF4-FFF2-40B4-BE49-F238E27FC236}">
                <a16:creationId xmlns:a16="http://schemas.microsoft.com/office/drawing/2014/main" id="{6FB7554F-6CD8-D5F1-1C82-1445CAE97132}"/>
              </a:ext>
            </a:extLst>
          </p:cNvPr>
          <p:cNvPicPr>
            <a:picLocks noChangeAspect="1"/>
          </p:cNvPicPr>
          <p:nvPr userDrawn="1"/>
        </p:nvPicPr>
        <p:blipFill>
          <a:blip r:embed="rId2"/>
          <a:srcRect/>
          <a:stretch/>
        </p:blipFill>
        <p:spPr>
          <a:xfrm>
            <a:off x="2289046" y="1410529"/>
            <a:ext cx="7613907" cy="2367446"/>
          </a:xfrm>
          <a:prstGeom prst="rect">
            <a:avLst/>
          </a:prstGeom>
        </p:spPr>
      </p:pic>
      <p:pic>
        <p:nvPicPr>
          <p:cNvPr id="2" name="Picture 1">
            <a:extLst>
              <a:ext uri="{FF2B5EF4-FFF2-40B4-BE49-F238E27FC236}">
                <a16:creationId xmlns:a16="http://schemas.microsoft.com/office/drawing/2014/main" id="{5540FFB5-BAAC-BF69-DD00-EB11B442B877}"/>
              </a:ext>
            </a:extLst>
          </p:cNvPr>
          <p:cNvPicPr>
            <a:picLocks noChangeAspect="1"/>
          </p:cNvPicPr>
          <p:nvPr userDrawn="1"/>
        </p:nvPicPr>
        <p:blipFill>
          <a:blip r:embed="rId3"/>
          <a:srcRect/>
          <a:stretch/>
        </p:blipFill>
        <p:spPr>
          <a:xfrm>
            <a:off x="277792" y="1607"/>
            <a:ext cx="277793" cy="277793"/>
          </a:xfrm>
          <a:prstGeom prst="rect">
            <a:avLst/>
          </a:prstGeom>
        </p:spPr>
      </p:pic>
      <p:pic>
        <p:nvPicPr>
          <p:cNvPr id="3" name="Picture 2">
            <a:extLst>
              <a:ext uri="{FF2B5EF4-FFF2-40B4-BE49-F238E27FC236}">
                <a16:creationId xmlns:a16="http://schemas.microsoft.com/office/drawing/2014/main" id="{150C187C-C68E-1872-6C8D-AD800E35DC87}"/>
              </a:ext>
            </a:extLst>
          </p:cNvPr>
          <p:cNvPicPr>
            <a:picLocks noChangeAspect="1"/>
          </p:cNvPicPr>
          <p:nvPr userDrawn="1"/>
        </p:nvPicPr>
        <p:blipFill>
          <a:blip r:embed="rId3"/>
          <a:srcRect/>
          <a:stretch/>
        </p:blipFill>
        <p:spPr>
          <a:xfrm>
            <a:off x="11795313" y="6183518"/>
            <a:ext cx="396687" cy="396687"/>
          </a:xfrm>
          <a:prstGeom prst="rect">
            <a:avLst/>
          </a:prstGeom>
        </p:spPr>
      </p:pic>
      <p:sp>
        <p:nvSpPr>
          <p:cNvPr id="18" name="Rectangle 17">
            <a:extLst>
              <a:ext uri="{FF2B5EF4-FFF2-40B4-BE49-F238E27FC236}">
                <a16:creationId xmlns:a16="http://schemas.microsoft.com/office/drawing/2014/main" id="{468E4196-B801-527E-1869-FE0091EAC022}"/>
              </a:ext>
            </a:extLst>
          </p:cNvPr>
          <p:cNvSpPr/>
          <p:nvPr userDrawn="1"/>
        </p:nvSpPr>
        <p:spPr>
          <a:xfrm>
            <a:off x="0" y="276932"/>
            <a:ext cx="277792" cy="63007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BE8547A6-1472-6643-A7C3-0614E3531088}"/>
              </a:ext>
            </a:extLst>
          </p:cNvPr>
          <p:cNvSpPr/>
          <p:nvPr userDrawn="1"/>
        </p:nvSpPr>
        <p:spPr>
          <a:xfrm>
            <a:off x="0" y="0"/>
            <a:ext cx="277794" cy="2769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85995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Gold">
    <p:bg>
      <p:bgPr>
        <a:solidFill>
          <a:schemeClr val="accent2"/>
        </a:solidFill>
        <a:effectLst/>
      </p:bgPr>
    </p:bg>
    <p:spTree>
      <p:nvGrpSpPr>
        <p:cNvPr id="1" name=""/>
        <p:cNvGrpSpPr/>
        <p:nvPr/>
      </p:nvGrpSpPr>
      <p:grpSpPr>
        <a:xfrm>
          <a:off x="0" y="0"/>
          <a:ext cx="0" cy="0"/>
          <a:chOff x="0" y="0"/>
          <a:chExt cx="0" cy="0"/>
        </a:xfrm>
      </p:grpSpPr>
      <p:pic>
        <p:nvPicPr>
          <p:cNvPr id="24" name="Picture 23" descr="A yellow surface with a black border&#10;&#10;Description automatically generated with medium confidence">
            <a:extLst>
              <a:ext uri="{FF2B5EF4-FFF2-40B4-BE49-F238E27FC236}">
                <a16:creationId xmlns:a16="http://schemas.microsoft.com/office/drawing/2014/main" id="{1D5C38DC-3007-7244-816B-56782237BE61}"/>
              </a:ext>
            </a:extLst>
          </p:cNvPr>
          <p:cNvPicPr>
            <a:picLocks noChangeAspect="1"/>
          </p:cNvPicPr>
          <p:nvPr userDrawn="1"/>
        </p:nvPicPr>
        <p:blipFill rotWithShape="1">
          <a:blip r:embed="rId2"/>
          <a:srcRect t="45522"/>
          <a:stretch/>
        </p:blipFill>
        <p:spPr>
          <a:xfrm>
            <a:off x="138896" y="4373348"/>
            <a:ext cx="12053104" cy="2205243"/>
          </a:xfrm>
          <a:prstGeom prst="rect">
            <a:avLst/>
          </a:prstGeom>
        </p:spPr>
      </p:pic>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3">
            <a:extLst>
              <a:ext uri="{FF2B5EF4-FFF2-40B4-BE49-F238E27FC236}">
                <a16:creationId xmlns:a16="http://schemas.microsoft.com/office/drawing/2014/main" id="{13C50966-A99F-798D-C58F-0D9886F67402}"/>
              </a:ext>
            </a:extLst>
          </p:cNvPr>
          <p:cNvSpPr>
            <a:spLocks noGrp="1"/>
          </p:cNvSpPr>
          <p:nvPr>
            <p:ph type="body" sz="quarter" idx="12" hasCustomPrompt="1"/>
          </p:nvPr>
        </p:nvSpPr>
        <p:spPr>
          <a:xfrm>
            <a:off x="992027" y="5115072"/>
            <a:ext cx="10757718" cy="332399"/>
          </a:xfrm>
        </p:spPr>
        <p:txBody>
          <a:bodyPr wrap="square" lIns="0" tIns="0" rIns="0" bIns="0">
            <a:normAutofit/>
          </a:bodyPr>
          <a:lstStyle>
            <a:lvl1pPr marL="0" indent="0" algn="ctr">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err="1"/>
              <a:t>www.urlgoeshere.com</a:t>
            </a:r>
            <a:endParaRPr lang="en-US"/>
          </a:p>
        </p:txBody>
      </p:sp>
      <p:sp>
        <p:nvSpPr>
          <p:cNvPr id="4" name="Text Placeholder 13">
            <a:extLst>
              <a:ext uri="{FF2B5EF4-FFF2-40B4-BE49-F238E27FC236}">
                <a16:creationId xmlns:a16="http://schemas.microsoft.com/office/drawing/2014/main" id="{626E00A5-2C40-95C5-F409-73F2D3F39934}"/>
              </a:ext>
            </a:extLst>
          </p:cNvPr>
          <p:cNvSpPr>
            <a:spLocks noGrp="1"/>
          </p:cNvSpPr>
          <p:nvPr>
            <p:ph type="body" sz="quarter" idx="14" hasCustomPrompt="1"/>
          </p:nvPr>
        </p:nvSpPr>
        <p:spPr>
          <a:xfrm>
            <a:off x="992027" y="4741122"/>
            <a:ext cx="10757718" cy="249299"/>
          </a:xfrm>
        </p:spPr>
        <p:txBody>
          <a:bodyPr wrap="square" lIns="0" tIns="0" rIns="0" bIns="0">
            <a:noAutofit/>
          </a:bodyPr>
          <a:lstStyle>
            <a:lvl1pPr marL="0" indent="0" algn="ctr">
              <a:buFontTx/>
              <a:buNone/>
              <a:defRPr sz="16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pic>
        <p:nvPicPr>
          <p:cNvPr id="5" name="Picture 4">
            <a:extLst>
              <a:ext uri="{FF2B5EF4-FFF2-40B4-BE49-F238E27FC236}">
                <a16:creationId xmlns:a16="http://schemas.microsoft.com/office/drawing/2014/main" id="{B1CF8824-230E-A55C-8536-05C488C109E9}"/>
              </a:ext>
            </a:extLst>
          </p:cNvPr>
          <p:cNvPicPr>
            <a:picLocks noChangeAspect="1"/>
          </p:cNvPicPr>
          <p:nvPr userDrawn="1"/>
        </p:nvPicPr>
        <p:blipFill>
          <a:blip r:embed="rId3"/>
          <a:srcRect/>
          <a:stretch/>
        </p:blipFill>
        <p:spPr>
          <a:xfrm>
            <a:off x="2289051" y="1410529"/>
            <a:ext cx="7613896" cy="2367446"/>
          </a:xfrm>
          <a:prstGeom prst="rect">
            <a:avLst/>
          </a:prstGeom>
        </p:spPr>
      </p:pic>
      <p:pic>
        <p:nvPicPr>
          <p:cNvPr id="6" name="Picture 5">
            <a:extLst>
              <a:ext uri="{FF2B5EF4-FFF2-40B4-BE49-F238E27FC236}">
                <a16:creationId xmlns:a16="http://schemas.microsoft.com/office/drawing/2014/main" id="{0C271648-F117-DFA1-1C31-3B9A0D4C39D0}"/>
              </a:ext>
            </a:extLst>
          </p:cNvPr>
          <p:cNvPicPr>
            <a:picLocks noChangeAspect="1"/>
          </p:cNvPicPr>
          <p:nvPr userDrawn="1"/>
        </p:nvPicPr>
        <p:blipFill>
          <a:blip r:embed="rId4"/>
          <a:srcRect/>
          <a:stretch/>
        </p:blipFill>
        <p:spPr>
          <a:xfrm>
            <a:off x="277792" y="1607"/>
            <a:ext cx="277793" cy="277793"/>
          </a:xfrm>
          <a:prstGeom prst="rect">
            <a:avLst/>
          </a:prstGeom>
        </p:spPr>
      </p:pic>
      <p:pic>
        <p:nvPicPr>
          <p:cNvPr id="9" name="Picture 8">
            <a:extLst>
              <a:ext uri="{FF2B5EF4-FFF2-40B4-BE49-F238E27FC236}">
                <a16:creationId xmlns:a16="http://schemas.microsoft.com/office/drawing/2014/main" id="{7D1DF55A-8BB2-3B33-D371-86C71DB8B11F}"/>
              </a:ext>
            </a:extLst>
          </p:cNvPr>
          <p:cNvPicPr>
            <a:picLocks noChangeAspect="1"/>
          </p:cNvPicPr>
          <p:nvPr userDrawn="1"/>
        </p:nvPicPr>
        <p:blipFill>
          <a:blip r:embed="rId4"/>
          <a:srcRect/>
          <a:stretch/>
        </p:blipFill>
        <p:spPr>
          <a:xfrm>
            <a:off x="11795313" y="6183519"/>
            <a:ext cx="396687" cy="396687"/>
          </a:xfrm>
          <a:prstGeom prst="rect">
            <a:avLst/>
          </a:prstGeom>
        </p:spPr>
      </p:pic>
      <p:sp>
        <p:nvSpPr>
          <p:cNvPr id="15" name="Rectangle 14">
            <a:extLst>
              <a:ext uri="{FF2B5EF4-FFF2-40B4-BE49-F238E27FC236}">
                <a16:creationId xmlns:a16="http://schemas.microsoft.com/office/drawing/2014/main" id="{E11012CB-6557-8DFA-EBD7-51B806C2DD5B}"/>
              </a:ext>
            </a:extLst>
          </p:cNvPr>
          <p:cNvSpPr/>
          <p:nvPr userDrawn="1"/>
        </p:nvSpPr>
        <p:spPr>
          <a:xfrm>
            <a:off x="0" y="276932"/>
            <a:ext cx="277792" cy="6300797"/>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6" name="Rectangle 15">
            <a:extLst>
              <a:ext uri="{FF2B5EF4-FFF2-40B4-BE49-F238E27FC236}">
                <a16:creationId xmlns:a16="http://schemas.microsoft.com/office/drawing/2014/main" id="{E385FC82-33E7-013B-6909-1A92FFD178C0}"/>
              </a:ext>
            </a:extLst>
          </p:cNvPr>
          <p:cNvSpPr/>
          <p:nvPr userDrawn="1"/>
        </p:nvSpPr>
        <p:spPr>
          <a:xfrm>
            <a:off x="0" y="0"/>
            <a:ext cx="277794" cy="2769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2067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121213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Bullet Single Column">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Single Column</a:t>
            </a:r>
          </a:p>
        </p:txBody>
      </p:sp>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1668250"/>
            <a:ext cx="10758375"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pic>
        <p:nvPicPr>
          <p:cNvPr id="2" name="Picture 1" descr="A blue and white checkered flag&#10;&#10;Description automatically generated">
            <a:extLst>
              <a:ext uri="{FF2B5EF4-FFF2-40B4-BE49-F238E27FC236}">
                <a16:creationId xmlns:a16="http://schemas.microsoft.com/office/drawing/2014/main" id="{4502C974-BE97-9E07-A60C-77904D1327C9}"/>
              </a:ext>
            </a:extLst>
          </p:cNvPr>
          <p:cNvPicPr>
            <a:picLocks noChangeAspect="1"/>
          </p:cNvPicPr>
          <p:nvPr userDrawn="1"/>
        </p:nvPicPr>
        <p:blipFill>
          <a:blip r:embed="rId2"/>
          <a:stretch>
            <a:fillRect/>
          </a:stretch>
        </p:blipFill>
        <p:spPr>
          <a:xfrm>
            <a:off x="277792" y="0"/>
            <a:ext cx="277793" cy="277793"/>
          </a:xfrm>
          <a:prstGeom prst="rect">
            <a:avLst/>
          </a:prstGeom>
        </p:spPr>
      </p:pic>
      <p:sp>
        <p:nvSpPr>
          <p:cNvPr id="3" name="Rectangle 2">
            <a:extLst>
              <a:ext uri="{FF2B5EF4-FFF2-40B4-BE49-F238E27FC236}">
                <a16:creationId xmlns:a16="http://schemas.microsoft.com/office/drawing/2014/main" id="{D8F8999F-FC95-EF35-5D2F-AD1F29B319D7}"/>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5" name="Rectangle 4">
            <a:extLst>
              <a:ext uri="{FF2B5EF4-FFF2-40B4-BE49-F238E27FC236}">
                <a16:creationId xmlns:a16="http://schemas.microsoft.com/office/drawing/2014/main" id="{A4347CFB-3AF5-71EE-EA0E-FDB3F158A00F}"/>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6674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and Gold">
    <p:bg>
      <p:bgPr>
        <a:solidFill>
          <a:schemeClr val="accent1"/>
        </a:solidFill>
        <a:effectLst/>
      </p:bgPr>
    </p:bg>
    <p:spTree>
      <p:nvGrpSpPr>
        <p:cNvPr id="1" name=""/>
        <p:cNvGrpSpPr/>
        <p:nvPr/>
      </p:nvGrpSpPr>
      <p:grpSpPr>
        <a:xfrm>
          <a:off x="0" y="0"/>
          <a:ext cx="0" cy="0"/>
          <a:chOff x="0" y="0"/>
          <a:chExt cx="0" cy="0"/>
        </a:xfrm>
      </p:grpSpPr>
      <p:pic>
        <p:nvPicPr>
          <p:cNvPr id="24" name="Picture 23" descr="A yellow surface with a black border&#10;&#10;Description automatically generated with medium confidence">
            <a:extLst>
              <a:ext uri="{FF2B5EF4-FFF2-40B4-BE49-F238E27FC236}">
                <a16:creationId xmlns:a16="http://schemas.microsoft.com/office/drawing/2014/main" id="{1D5C38DC-3007-7244-816B-56782237BE61}"/>
              </a:ext>
            </a:extLst>
          </p:cNvPr>
          <p:cNvPicPr>
            <a:picLocks noChangeAspect="1"/>
          </p:cNvPicPr>
          <p:nvPr userDrawn="1"/>
        </p:nvPicPr>
        <p:blipFill rotWithShape="1">
          <a:blip r:embed="rId2"/>
          <a:srcRect t="45522" b="4187"/>
          <a:stretch/>
        </p:blipFill>
        <p:spPr>
          <a:xfrm>
            <a:off x="138896" y="4630707"/>
            <a:ext cx="12053104" cy="1947894"/>
          </a:xfrm>
          <a:prstGeom prst="rect">
            <a:avLst/>
          </a:prstGeom>
        </p:spPr>
      </p:pic>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6" y="5115072"/>
            <a:ext cx="10758377"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6" y="5624358"/>
            <a:ext cx="10758377" cy="332399"/>
          </a:xfrm>
        </p:spPr>
        <p:txBody>
          <a:bodyPr wrap="square" lIns="0" tIns="0" rIns="0" bIns="0">
            <a:normAutofit/>
          </a:bodyPr>
          <a:lstStyle>
            <a:lvl1pPr marL="0" indent="0" algn="l">
              <a:buFontTx/>
              <a:buNone/>
              <a:defRPr sz="20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9400"/>
            <a:ext cx="277792" cy="630080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6000" y="762000"/>
            <a:ext cx="277792" cy="1191420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77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2485674"/>
            <a:ext cx="10757719" cy="1666936"/>
          </a:xfrm>
        </p:spPr>
        <p:txBody>
          <a:bodyPr lIns="0" rIns="0">
            <a:normAutofit/>
          </a:bodyPr>
          <a:lstStyle>
            <a:lvl1pPr marL="0" indent="0" algn="l">
              <a:lnSpc>
                <a:spcPts val="5600"/>
              </a:lnSpc>
              <a:buFontTx/>
              <a:buNone/>
              <a:defRPr sz="6000"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Blue and Gold Title Slide </a:t>
            </a:r>
            <a:br>
              <a:rPr lang="en-US"/>
            </a:br>
            <a:r>
              <a:rPr lang="en-US"/>
              <a:t>without Photo</a:t>
            </a:r>
          </a:p>
        </p:txBody>
      </p:sp>
      <p:pic>
        <p:nvPicPr>
          <p:cNvPr id="31" name="Picture 30">
            <a:extLst>
              <a:ext uri="{FF2B5EF4-FFF2-40B4-BE49-F238E27FC236}">
                <a16:creationId xmlns:a16="http://schemas.microsoft.com/office/drawing/2014/main" id="{4275037A-211A-0260-E975-502EF3457506}"/>
              </a:ext>
            </a:extLst>
          </p:cNvPr>
          <p:cNvPicPr>
            <a:picLocks noChangeAspect="1"/>
          </p:cNvPicPr>
          <p:nvPr userDrawn="1"/>
        </p:nvPicPr>
        <p:blipFill>
          <a:blip r:embed="rId3"/>
          <a:srcRect/>
          <a:stretch/>
        </p:blipFill>
        <p:spPr>
          <a:xfrm>
            <a:off x="9342689" y="362275"/>
            <a:ext cx="2407715" cy="748648"/>
          </a:xfrm>
          <a:prstGeom prst="rect">
            <a:avLst/>
          </a:prstGeom>
        </p:spPr>
      </p:pic>
      <p:pic>
        <p:nvPicPr>
          <p:cNvPr id="4" name="Picture 3">
            <a:extLst>
              <a:ext uri="{FF2B5EF4-FFF2-40B4-BE49-F238E27FC236}">
                <a16:creationId xmlns:a16="http://schemas.microsoft.com/office/drawing/2014/main" id="{5644B56F-DBF0-5E24-D0D7-7E9B61823D3A}"/>
              </a:ext>
            </a:extLst>
          </p:cNvPr>
          <p:cNvPicPr>
            <a:picLocks noChangeAspect="1"/>
          </p:cNvPicPr>
          <p:nvPr userDrawn="1"/>
        </p:nvPicPr>
        <p:blipFill>
          <a:blip r:embed="rId4"/>
          <a:srcRect/>
          <a:stretch/>
        </p:blipFill>
        <p:spPr>
          <a:xfrm>
            <a:off x="277792" y="1607"/>
            <a:ext cx="277793" cy="277793"/>
          </a:xfrm>
          <a:prstGeom prst="rect">
            <a:avLst/>
          </a:prstGeom>
        </p:spPr>
      </p:pic>
      <p:pic>
        <p:nvPicPr>
          <p:cNvPr id="5" name="Picture 4">
            <a:extLst>
              <a:ext uri="{FF2B5EF4-FFF2-40B4-BE49-F238E27FC236}">
                <a16:creationId xmlns:a16="http://schemas.microsoft.com/office/drawing/2014/main" id="{004D2ED6-4301-65EC-735C-BFB59AE47C8E}"/>
              </a:ext>
            </a:extLst>
          </p:cNvPr>
          <p:cNvPicPr>
            <a:picLocks noChangeAspect="1"/>
          </p:cNvPicPr>
          <p:nvPr userDrawn="1"/>
        </p:nvPicPr>
        <p:blipFill>
          <a:blip r:embed="rId4"/>
          <a:srcRect/>
          <a:stretch/>
        </p:blipFill>
        <p:spPr>
          <a:xfrm>
            <a:off x="11795313" y="6183519"/>
            <a:ext cx="396687" cy="396687"/>
          </a:xfrm>
          <a:prstGeom prst="rect">
            <a:avLst/>
          </a:prstGeom>
        </p:spPr>
      </p:pic>
      <p:sp>
        <p:nvSpPr>
          <p:cNvPr id="2" name="Text Placeholder 13">
            <a:extLst>
              <a:ext uri="{FF2B5EF4-FFF2-40B4-BE49-F238E27FC236}">
                <a16:creationId xmlns:a16="http://schemas.microsoft.com/office/drawing/2014/main" id="{C8B43FE5-DF06-EE45-EB33-BE5270026915}"/>
              </a:ext>
            </a:extLst>
          </p:cNvPr>
          <p:cNvSpPr>
            <a:spLocks noGrp="1"/>
          </p:cNvSpPr>
          <p:nvPr>
            <p:ph type="body" sz="quarter" idx="14" hasCustomPrompt="1"/>
          </p:nvPr>
        </p:nvSpPr>
        <p:spPr>
          <a:xfrm>
            <a:off x="992027" y="1965617"/>
            <a:ext cx="10757718" cy="249299"/>
          </a:xfrm>
        </p:spPr>
        <p:txBody>
          <a:bodyPr wrap="square" lIns="0" tIns="0" rIns="0" bIns="0">
            <a:noAutofit/>
          </a:bodyPr>
          <a:lstStyle>
            <a:lvl1pPr marL="0" indent="0" algn="l">
              <a:buFontTx/>
              <a:buNone/>
              <a:defRPr sz="1600" b="0">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a:p>
            <a:pPr lvl="0"/>
            <a:endParaRPr lang="en-US"/>
          </a:p>
        </p:txBody>
      </p:sp>
    </p:spTree>
    <p:extLst>
      <p:ext uri="{BB962C8B-B14F-4D97-AF65-F5344CB8AC3E}">
        <p14:creationId xmlns:p14="http://schemas.microsoft.com/office/powerpoint/2010/main" val="1928688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hite with Photo">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C5BACCB-11A0-E67D-A5BE-F5FD36B3E10C}"/>
              </a:ext>
            </a:extLst>
          </p:cNvPr>
          <p:cNvSpPr>
            <a:spLocks noGrp="1"/>
          </p:cNvSpPr>
          <p:nvPr>
            <p:ph type="body" sz="quarter" idx="10" hasCustomPrompt="1"/>
          </p:nvPr>
        </p:nvSpPr>
        <p:spPr>
          <a:xfrm>
            <a:off x="992355" y="2493055"/>
            <a:ext cx="6335545" cy="1666936"/>
          </a:xfrm>
        </p:spPr>
        <p:txBody>
          <a:bodyPr lIns="0" rIns="0">
            <a:normAutofit/>
          </a:bodyPr>
          <a:lstStyle>
            <a:lvl1pPr marL="0" indent="0" algn="l">
              <a:lnSpc>
                <a:spcPts val="5100"/>
              </a:lnSpc>
              <a:buFontTx/>
              <a:buNone/>
              <a:defRPr sz="55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White Title Slide </a:t>
            </a:r>
            <a:br>
              <a:rPr lang="en-US"/>
            </a:br>
            <a:r>
              <a:rPr lang="en-US"/>
              <a:t>with Photo</a:t>
            </a:r>
          </a:p>
        </p:txBody>
      </p:sp>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75403"/>
            <a:ext cx="6335845"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7" y="5684689"/>
            <a:ext cx="6335845" cy="332399"/>
          </a:xfrm>
        </p:spPr>
        <p:txBody>
          <a:bodyPr wrap="square" lIns="0" tIns="0" rIns="0" bIns="0">
            <a:normAutofit/>
          </a:bodyPr>
          <a:lstStyle>
            <a:lvl1pPr marL="0" indent="0" algn="l">
              <a:buFontTx/>
              <a:buNone/>
              <a:defRPr sz="20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7793"/>
            <a:ext cx="277792" cy="630241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3799936" y="3058064"/>
            <a:ext cx="277792" cy="732207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779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1961190"/>
            <a:ext cx="6335545" cy="249299"/>
          </a:xfrm>
        </p:spPr>
        <p:txBody>
          <a:bodyPr wrap="square" lIns="0" tIns="0" rIns="0" bIns="0">
            <a:noAutofit/>
          </a:bodyPr>
          <a:lstStyle>
            <a:lvl1pPr marL="0" indent="0" algn="l">
              <a:buFontTx/>
              <a:buNone/>
              <a:defRPr sz="16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 name="Picture 1">
            <a:extLst>
              <a:ext uri="{FF2B5EF4-FFF2-40B4-BE49-F238E27FC236}">
                <a16:creationId xmlns:a16="http://schemas.microsoft.com/office/drawing/2014/main" id="{8468F677-27D4-F226-EA6A-640C50B4F119}"/>
              </a:ext>
            </a:extLst>
          </p:cNvPr>
          <p:cNvPicPr>
            <a:picLocks noChangeAspect="1"/>
          </p:cNvPicPr>
          <p:nvPr userDrawn="1"/>
        </p:nvPicPr>
        <p:blipFill>
          <a:blip r:embed="rId2"/>
          <a:srcRect/>
          <a:stretch/>
        </p:blipFill>
        <p:spPr>
          <a:xfrm>
            <a:off x="942777" y="499410"/>
            <a:ext cx="2407712" cy="748648"/>
          </a:xfrm>
          <a:prstGeom prst="rect">
            <a:avLst/>
          </a:prstGeom>
        </p:spPr>
      </p:pic>
      <p:sp>
        <p:nvSpPr>
          <p:cNvPr id="26" name="Picture Placeholder 25">
            <a:extLst>
              <a:ext uri="{FF2B5EF4-FFF2-40B4-BE49-F238E27FC236}">
                <a16:creationId xmlns:a16="http://schemas.microsoft.com/office/drawing/2014/main" id="{F0410E6F-D471-B671-6E0C-74DBDEB712B7}"/>
              </a:ext>
            </a:extLst>
          </p:cNvPr>
          <p:cNvSpPr>
            <a:spLocks noGrp="1"/>
          </p:cNvSpPr>
          <p:nvPr>
            <p:ph type="pic" sz="quarter" idx="15" hasCustomPrompt="1"/>
          </p:nvPr>
        </p:nvSpPr>
        <p:spPr>
          <a:xfrm>
            <a:off x="7599871" y="0"/>
            <a:ext cx="4588917" cy="6858000"/>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cxnSp>
        <p:nvCxnSpPr>
          <p:cNvPr id="19" name="Straight Connector 18">
            <a:extLst>
              <a:ext uri="{FF2B5EF4-FFF2-40B4-BE49-F238E27FC236}">
                <a16:creationId xmlns:a16="http://schemas.microsoft.com/office/drawing/2014/main" id="{C3D85869-6C04-519E-1D41-3409469421F3}"/>
              </a:ext>
            </a:extLst>
          </p:cNvPr>
          <p:cNvCxnSpPr>
            <a:cxnSpLocks/>
          </p:cNvCxnSpPr>
          <p:nvPr userDrawn="1"/>
        </p:nvCxnSpPr>
        <p:spPr>
          <a:xfrm>
            <a:off x="980876" y="4381940"/>
            <a:ext cx="2546095" cy="0"/>
          </a:xfrm>
          <a:prstGeom prst="line">
            <a:avLst/>
          </a:prstGeom>
          <a:ln w="50800" cap="flat">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descr="A blue and white checkered flag&#10;&#10;Description automatically generated">
            <a:extLst>
              <a:ext uri="{FF2B5EF4-FFF2-40B4-BE49-F238E27FC236}">
                <a16:creationId xmlns:a16="http://schemas.microsoft.com/office/drawing/2014/main" id="{D13415A7-A6AE-1C88-17A4-5C4AA874D05A}"/>
              </a:ext>
            </a:extLst>
          </p:cNvPr>
          <p:cNvPicPr>
            <a:picLocks noChangeAspect="1"/>
          </p:cNvPicPr>
          <p:nvPr userDrawn="1"/>
        </p:nvPicPr>
        <p:blipFill>
          <a:blip r:embed="rId3"/>
          <a:stretch>
            <a:fillRect/>
          </a:stretch>
        </p:blipFill>
        <p:spPr>
          <a:xfrm>
            <a:off x="277792" y="0"/>
            <a:ext cx="277793" cy="277793"/>
          </a:xfrm>
          <a:prstGeom prst="rect">
            <a:avLst/>
          </a:prstGeom>
        </p:spPr>
      </p:pic>
    </p:spTree>
    <p:extLst>
      <p:ext uri="{BB962C8B-B14F-4D97-AF65-F5344CB8AC3E}">
        <p14:creationId xmlns:p14="http://schemas.microsoft.com/office/powerpoint/2010/main" val="2406337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with Photo">
    <p:bg>
      <p:bgPr>
        <a:solidFill>
          <a:srgbClr val="00359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C5BACCB-11A0-E67D-A5BE-F5FD36B3E10C}"/>
              </a:ext>
            </a:extLst>
          </p:cNvPr>
          <p:cNvSpPr>
            <a:spLocks noGrp="1"/>
          </p:cNvSpPr>
          <p:nvPr>
            <p:ph type="body" sz="quarter" idx="10" hasCustomPrompt="1"/>
          </p:nvPr>
        </p:nvSpPr>
        <p:spPr>
          <a:xfrm>
            <a:off x="992355" y="2480849"/>
            <a:ext cx="6335545" cy="1666936"/>
          </a:xfrm>
        </p:spPr>
        <p:txBody>
          <a:bodyPr lIns="0" rIns="0">
            <a:normAutofit/>
          </a:bodyPr>
          <a:lstStyle>
            <a:lvl1pPr marL="0" indent="0" algn="l">
              <a:lnSpc>
                <a:spcPts val="5100"/>
              </a:lnSpc>
              <a:buFontTx/>
              <a:buNone/>
              <a:defRPr sz="5500"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Blue Title Slide </a:t>
            </a:r>
            <a:br>
              <a:rPr lang="en-US"/>
            </a:br>
            <a:r>
              <a:rPr lang="en-US"/>
              <a:t>with Photo</a:t>
            </a:r>
          </a:p>
        </p:txBody>
      </p:sp>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67650"/>
            <a:ext cx="6335845" cy="332399"/>
          </a:xfrm>
        </p:spPr>
        <p:txBody>
          <a:bodyPr wrap="square" lIns="0" tIns="0" rIns="0" bIns="0">
            <a:normAutofit/>
          </a:bodyPr>
          <a:lstStyle>
            <a:lvl1pPr marL="0" indent="0" algn="l">
              <a:buFontTx/>
              <a:buNone/>
              <a:defRPr sz="2000" b="1">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7" y="5676936"/>
            <a:ext cx="6335845" cy="332399"/>
          </a:xfrm>
        </p:spPr>
        <p:txBody>
          <a:bodyPr wrap="square" lIns="0" tIns="0" rIns="0" bIns="0">
            <a:normAutofit/>
          </a:bodyPr>
          <a:lstStyle>
            <a:lvl1pPr marL="0" indent="0" algn="l">
              <a:buFontTx/>
              <a:buNone/>
              <a:defRPr sz="2000" b="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9400"/>
            <a:ext cx="277792" cy="63008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3800739" y="3057261"/>
            <a:ext cx="277792" cy="73236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1"/>
            <a:ext cx="277794" cy="2793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1950669"/>
            <a:ext cx="6335545" cy="249299"/>
          </a:xfrm>
        </p:spPr>
        <p:txBody>
          <a:bodyPr wrap="square" lIns="0" tIns="0" rIns="0" bIns="0">
            <a:noAutofit/>
          </a:bodyPr>
          <a:lstStyle>
            <a:lvl1pPr marL="0" indent="0" algn="l">
              <a:buFontTx/>
              <a:buNone/>
              <a:defRPr sz="1600" b="0">
                <a:solidFill>
                  <a:srgbClr val="FFC000"/>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 name="Picture 1">
            <a:extLst>
              <a:ext uri="{FF2B5EF4-FFF2-40B4-BE49-F238E27FC236}">
                <a16:creationId xmlns:a16="http://schemas.microsoft.com/office/drawing/2014/main" id="{8468F677-27D4-F226-EA6A-640C50B4F119}"/>
              </a:ext>
            </a:extLst>
          </p:cNvPr>
          <p:cNvPicPr>
            <a:picLocks noChangeAspect="1"/>
          </p:cNvPicPr>
          <p:nvPr userDrawn="1"/>
        </p:nvPicPr>
        <p:blipFill>
          <a:blip r:embed="rId2"/>
          <a:srcRect/>
          <a:stretch/>
        </p:blipFill>
        <p:spPr>
          <a:xfrm>
            <a:off x="942776" y="499410"/>
            <a:ext cx="2407715" cy="748648"/>
          </a:xfrm>
          <a:prstGeom prst="rect">
            <a:avLst/>
          </a:prstGeom>
        </p:spPr>
      </p:pic>
      <p:sp>
        <p:nvSpPr>
          <p:cNvPr id="26" name="Picture Placeholder 25">
            <a:extLst>
              <a:ext uri="{FF2B5EF4-FFF2-40B4-BE49-F238E27FC236}">
                <a16:creationId xmlns:a16="http://schemas.microsoft.com/office/drawing/2014/main" id="{F0410E6F-D471-B671-6E0C-74DBDEB712B7}"/>
              </a:ext>
            </a:extLst>
          </p:cNvPr>
          <p:cNvSpPr>
            <a:spLocks noGrp="1"/>
          </p:cNvSpPr>
          <p:nvPr>
            <p:ph type="pic" sz="quarter" idx="15" hasCustomPrompt="1"/>
          </p:nvPr>
        </p:nvSpPr>
        <p:spPr>
          <a:xfrm>
            <a:off x="7601478" y="-1"/>
            <a:ext cx="4588917" cy="6857989"/>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cxnSp>
        <p:nvCxnSpPr>
          <p:cNvPr id="37" name="Straight Connector 36">
            <a:extLst>
              <a:ext uri="{FF2B5EF4-FFF2-40B4-BE49-F238E27FC236}">
                <a16:creationId xmlns:a16="http://schemas.microsoft.com/office/drawing/2014/main" id="{F3A0FC9E-F151-4C49-4B48-50132E8F9518}"/>
              </a:ext>
            </a:extLst>
          </p:cNvPr>
          <p:cNvCxnSpPr>
            <a:cxnSpLocks/>
          </p:cNvCxnSpPr>
          <p:nvPr userDrawn="1"/>
        </p:nvCxnSpPr>
        <p:spPr>
          <a:xfrm>
            <a:off x="980876" y="4381940"/>
            <a:ext cx="2546095" cy="0"/>
          </a:xfrm>
          <a:prstGeom prst="line">
            <a:avLst/>
          </a:prstGeom>
          <a:ln w="50800" cap="flat">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97031A7-4AB0-D3F7-241B-0D14F8E4A5C4}"/>
              </a:ext>
            </a:extLst>
          </p:cNvPr>
          <p:cNvPicPr>
            <a:picLocks noChangeAspect="1"/>
          </p:cNvPicPr>
          <p:nvPr userDrawn="1"/>
        </p:nvPicPr>
        <p:blipFill>
          <a:blip r:embed="rId3"/>
          <a:srcRect/>
          <a:stretch/>
        </p:blipFill>
        <p:spPr>
          <a:xfrm>
            <a:off x="277792" y="1607"/>
            <a:ext cx="277793" cy="277793"/>
          </a:xfrm>
          <a:prstGeom prst="rect">
            <a:avLst/>
          </a:prstGeom>
        </p:spPr>
      </p:pic>
    </p:spTree>
    <p:extLst>
      <p:ext uri="{BB962C8B-B14F-4D97-AF65-F5344CB8AC3E}">
        <p14:creationId xmlns:p14="http://schemas.microsoft.com/office/powerpoint/2010/main" val="3418255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Gold with Photo">
    <p:bg>
      <p:bgPr>
        <a:solidFill>
          <a:schemeClr val="accent2"/>
        </a:solidFill>
        <a:effectLst/>
      </p:bgPr>
    </p:bg>
    <p:spTree>
      <p:nvGrpSpPr>
        <p:cNvPr id="1" name=""/>
        <p:cNvGrpSpPr/>
        <p:nvPr/>
      </p:nvGrpSpPr>
      <p:grpSpPr>
        <a:xfrm>
          <a:off x="0" y="0"/>
          <a:ext cx="0" cy="0"/>
          <a:chOff x="0" y="0"/>
          <a:chExt cx="0" cy="0"/>
        </a:xfrm>
      </p:grpSpPr>
      <p:pic>
        <p:nvPicPr>
          <p:cNvPr id="3" name="Picture 2" descr="A yellow surface with a black border&#10;&#10;Description automatically generated with medium confidence">
            <a:extLst>
              <a:ext uri="{FF2B5EF4-FFF2-40B4-BE49-F238E27FC236}">
                <a16:creationId xmlns:a16="http://schemas.microsoft.com/office/drawing/2014/main" id="{65AC2E60-2D04-DC4E-7120-2C38694351E9}"/>
              </a:ext>
            </a:extLst>
          </p:cNvPr>
          <p:cNvPicPr>
            <a:picLocks noChangeAspect="1"/>
          </p:cNvPicPr>
          <p:nvPr userDrawn="1"/>
        </p:nvPicPr>
        <p:blipFill rotWithShape="1">
          <a:blip r:embed="rId2"/>
          <a:srcRect t="45522" r="38099" b="4187"/>
          <a:stretch/>
        </p:blipFill>
        <p:spPr>
          <a:xfrm>
            <a:off x="138896" y="4630707"/>
            <a:ext cx="7460975" cy="1947894"/>
          </a:xfrm>
          <a:prstGeom prst="rect">
            <a:avLst/>
          </a:prstGeom>
        </p:spPr>
      </p:pic>
      <p:sp>
        <p:nvSpPr>
          <p:cNvPr id="9" name="Text Placeholder 8">
            <a:extLst>
              <a:ext uri="{FF2B5EF4-FFF2-40B4-BE49-F238E27FC236}">
                <a16:creationId xmlns:a16="http://schemas.microsoft.com/office/drawing/2014/main" id="{FC5BACCB-11A0-E67D-A5BE-F5FD36B3E10C}"/>
              </a:ext>
            </a:extLst>
          </p:cNvPr>
          <p:cNvSpPr>
            <a:spLocks noGrp="1"/>
          </p:cNvSpPr>
          <p:nvPr>
            <p:ph type="body" sz="quarter" idx="10" hasCustomPrompt="1"/>
          </p:nvPr>
        </p:nvSpPr>
        <p:spPr>
          <a:xfrm>
            <a:off x="992355" y="2493055"/>
            <a:ext cx="6335545" cy="1666936"/>
          </a:xfrm>
        </p:spPr>
        <p:txBody>
          <a:bodyPr lIns="0" rIns="0">
            <a:normAutofit/>
          </a:bodyPr>
          <a:lstStyle>
            <a:lvl1pPr marL="0" indent="0" algn="l">
              <a:lnSpc>
                <a:spcPts val="5100"/>
              </a:lnSpc>
              <a:buFontTx/>
              <a:buNone/>
              <a:defRPr sz="5500" b="1">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Gold Title Slide </a:t>
            </a:r>
            <a:br>
              <a:rPr lang="en-US"/>
            </a:br>
            <a:r>
              <a:rPr lang="en-US"/>
              <a:t>with Photo</a:t>
            </a:r>
          </a:p>
        </p:txBody>
      </p:sp>
      <p:sp>
        <p:nvSpPr>
          <p:cNvPr id="14" name="Text Placeholder 13">
            <a:extLst>
              <a:ext uri="{FF2B5EF4-FFF2-40B4-BE49-F238E27FC236}">
                <a16:creationId xmlns:a16="http://schemas.microsoft.com/office/drawing/2014/main" id="{9E06613C-620C-CCA1-5CF5-9D533B47391F}"/>
              </a:ext>
            </a:extLst>
          </p:cNvPr>
          <p:cNvSpPr>
            <a:spLocks noGrp="1"/>
          </p:cNvSpPr>
          <p:nvPr>
            <p:ph type="body" sz="quarter" idx="12" hasCustomPrompt="1"/>
          </p:nvPr>
        </p:nvSpPr>
        <p:spPr>
          <a:xfrm>
            <a:off x="992027" y="5175403"/>
            <a:ext cx="6335845" cy="332399"/>
          </a:xfrm>
        </p:spPr>
        <p:txBody>
          <a:bodyPr wrap="square" lIns="0" tIns="0" rIns="0" bIns="0">
            <a:normAutofit/>
          </a:bodyPr>
          <a:lstStyle>
            <a:lvl1pPr marL="0" indent="0" algn="l">
              <a:buFontTx/>
              <a:buNone/>
              <a:defRPr sz="2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esentation Subtitle or Presenter Name</a:t>
            </a:r>
          </a:p>
        </p:txBody>
      </p:sp>
      <p:sp>
        <p:nvSpPr>
          <p:cNvPr id="6" name="Text Placeholder 13">
            <a:extLst>
              <a:ext uri="{FF2B5EF4-FFF2-40B4-BE49-F238E27FC236}">
                <a16:creationId xmlns:a16="http://schemas.microsoft.com/office/drawing/2014/main" id="{7AF0B458-5ED3-871C-B39B-E0753E1A1CBE}"/>
              </a:ext>
            </a:extLst>
          </p:cNvPr>
          <p:cNvSpPr>
            <a:spLocks noGrp="1"/>
          </p:cNvSpPr>
          <p:nvPr>
            <p:ph type="body" sz="quarter" idx="13" hasCustomPrompt="1"/>
          </p:nvPr>
        </p:nvSpPr>
        <p:spPr>
          <a:xfrm>
            <a:off x="992027" y="5684689"/>
            <a:ext cx="6335845" cy="332399"/>
          </a:xfrm>
        </p:spPr>
        <p:txBody>
          <a:bodyPr wrap="square" lIns="0" tIns="0" rIns="0" bIns="0">
            <a:normAutofit/>
          </a:bodyPr>
          <a:lstStyle>
            <a:lvl1pPr marL="0" indent="0" algn="l">
              <a:buFontTx/>
              <a:buNone/>
              <a:defRPr sz="2000" b="0">
                <a:solidFill>
                  <a:schemeClr val="bg2">
                    <a:lumMod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Month XX, Year</a:t>
            </a:r>
          </a:p>
        </p:txBody>
      </p:sp>
      <p:sp>
        <p:nvSpPr>
          <p:cNvPr id="7" name="Rectangle 6">
            <a:extLst>
              <a:ext uri="{FF2B5EF4-FFF2-40B4-BE49-F238E27FC236}">
                <a16:creationId xmlns:a16="http://schemas.microsoft.com/office/drawing/2014/main" id="{FE92AEF9-615A-69FA-B153-FE7135B98005}"/>
              </a:ext>
            </a:extLst>
          </p:cNvPr>
          <p:cNvSpPr/>
          <p:nvPr userDrawn="1"/>
        </p:nvSpPr>
        <p:spPr>
          <a:xfrm>
            <a:off x="0" y="279400"/>
            <a:ext cx="277792" cy="630080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3799936" y="3058064"/>
            <a:ext cx="277792" cy="73220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77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a16="http://schemas.microsoft.com/office/drawing/2014/main" id="{36F762C7-71A0-C668-493A-6DB2F9A3BA03}"/>
              </a:ext>
            </a:extLst>
          </p:cNvPr>
          <p:cNvSpPr>
            <a:spLocks noGrp="1"/>
          </p:cNvSpPr>
          <p:nvPr>
            <p:ph type="body" sz="quarter" idx="14" hasCustomPrompt="1"/>
          </p:nvPr>
        </p:nvSpPr>
        <p:spPr>
          <a:xfrm>
            <a:off x="992027" y="1961190"/>
            <a:ext cx="6335545" cy="249299"/>
          </a:xfrm>
        </p:spPr>
        <p:txBody>
          <a:bodyPr wrap="square" lIns="0" tIns="0" rIns="0" bIns="0">
            <a:noAutofit/>
          </a:bodyPr>
          <a:lstStyle>
            <a:lvl1pPr marL="0" indent="0" algn="l">
              <a:buFontTx/>
              <a:buNone/>
              <a:defRPr sz="1600" b="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chool, Department, Center or Institution name can go here</a:t>
            </a:r>
          </a:p>
        </p:txBody>
      </p:sp>
      <p:pic>
        <p:nvPicPr>
          <p:cNvPr id="2" name="Picture 1">
            <a:extLst>
              <a:ext uri="{FF2B5EF4-FFF2-40B4-BE49-F238E27FC236}">
                <a16:creationId xmlns:a16="http://schemas.microsoft.com/office/drawing/2014/main" id="{8468F677-27D4-F226-EA6A-640C50B4F119}"/>
              </a:ext>
            </a:extLst>
          </p:cNvPr>
          <p:cNvPicPr>
            <a:picLocks noChangeAspect="1"/>
          </p:cNvPicPr>
          <p:nvPr userDrawn="1"/>
        </p:nvPicPr>
        <p:blipFill>
          <a:blip r:embed="rId3"/>
          <a:srcRect/>
          <a:stretch/>
        </p:blipFill>
        <p:spPr>
          <a:xfrm>
            <a:off x="942777" y="499410"/>
            <a:ext cx="2407712" cy="748648"/>
          </a:xfrm>
          <a:prstGeom prst="rect">
            <a:avLst/>
          </a:prstGeom>
        </p:spPr>
      </p:pic>
      <p:sp>
        <p:nvSpPr>
          <p:cNvPr id="26" name="Picture Placeholder 25">
            <a:extLst>
              <a:ext uri="{FF2B5EF4-FFF2-40B4-BE49-F238E27FC236}">
                <a16:creationId xmlns:a16="http://schemas.microsoft.com/office/drawing/2014/main" id="{F0410E6F-D471-B671-6E0C-74DBDEB712B7}"/>
              </a:ext>
            </a:extLst>
          </p:cNvPr>
          <p:cNvSpPr>
            <a:spLocks noGrp="1"/>
          </p:cNvSpPr>
          <p:nvPr>
            <p:ph type="pic" sz="quarter" idx="15" hasCustomPrompt="1"/>
          </p:nvPr>
        </p:nvSpPr>
        <p:spPr>
          <a:xfrm>
            <a:off x="7599871" y="0"/>
            <a:ext cx="4588917" cy="6858000"/>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pic>
        <p:nvPicPr>
          <p:cNvPr id="4" name="Picture 3">
            <a:extLst>
              <a:ext uri="{FF2B5EF4-FFF2-40B4-BE49-F238E27FC236}">
                <a16:creationId xmlns:a16="http://schemas.microsoft.com/office/drawing/2014/main" id="{DB1AC4CC-E82D-C52D-BF74-5783AA217824}"/>
              </a:ext>
            </a:extLst>
          </p:cNvPr>
          <p:cNvPicPr>
            <a:picLocks noChangeAspect="1"/>
          </p:cNvPicPr>
          <p:nvPr userDrawn="1"/>
        </p:nvPicPr>
        <p:blipFill>
          <a:blip r:embed="rId4"/>
          <a:srcRect/>
          <a:stretch/>
        </p:blipFill>
        <p:spPr>
          <a:xfrm>
            <a:off x="277792" y="1607"/>
            <a:ext cx="277793" cy="277793"/>
          </a:xfrm>
          <a:prstGeom prst="rect">
            <a:avLst/>
          </a:prstGeom>
        </p:spPr>
      </p:pic>
    </p:spTree>
    <p:extLst>
      <p:ext uri="{BB962C8B-B14F-4D97-AF65-F5344CB8AC3E}">
        <p14:creationId xmlns:p14="http://schemas.microsoft.com/office/powerpoint/2010/main" val="3015892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92AEF9-615A-69FA-B153-FE7135B98005}"/>
              </a:ext>
            </a:extLst>
          </p:cNvPr>
          <p:cNvSpPr/>
          <p:nvPr userDrawn="1"/>
        </p:nvSpPr>
        <p:spPr>
          <a:xfrm>
            <a:off x="0" y="279400"/>
            <a:ext cx="277792" cy="63007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2AB57D5-15A0-E41D-7E0D-BA7AA53223AC}"/>
              </a:ext>
            </a:extLst>
          </p:cNvPr>
          <p:cNvSpPr/>
          <p:nvPr userDrawn="1"/>
        </p:nvSpPr>
        <p:spPr>
          <a:xfrm rot="5400000">
            <a:off x="6095197" y="762803"/>
            <a:ext cx="277792" cy="119126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7D05A95-7371-9BEF-7844-FD763B53400E}"/>
              </a:ext>
            </a:extLst>
          </p:cNvPr>
          <p:cNvSpPr/>
          <p:nvPr userDrawn="1"/>
        </p:nvSpPr>
        <p:spPr>
          <a:xfrm>
            <a:off x="0" y="0"/>
            <a:ext cx="277794" cy="2793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7B08A63-5C28-2736-64DB-BF56E813DDAC}"/>
              </a:ext>
            </a:extLst>
          </p:cNvPr>
          <p:cNvSpPr/>
          <p:nvPr userDrawn="1"/>
        </p:nvSpPr>
        <p:spPr>
          <a:xfrm>
            <a:off x="11912600" y="6580206"/>
            <a:ext cx="277794" cy="2777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31010F5-3AE2-BE59-8F60-AC6E8F9FB14B}"/>
              </a:ext>
            </a:extLst>
          </p:cNvPr>
          <p:cNvCxnSpPr>
            <a:cxnSpLocks/>
          </p:cNvCxnSpPr>
          <p:nvPr userDrawn="1"/>
        </p:nvCxnSpPr>
        <p:spPr>
          <a:xfrm>
            <a:off x="855741" y="2870621"/>
            <a:ext cx="2546095" cy="0"/>
          </a:xfrm>
          <a:prstGeom prst="line">
            <a:avLst/>
          </a:prstGeom>
          <a:ln w="50800" cap="flat">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7A3104D1-E46B-870F-7B19-860853CFA53B}"/>
              </a:ext>
            </a:extLst>
          </p:cNvPr>
          <p:cNvSpPr>
            <a:spLocks noGrp="1"/>
          </p:cNvSpPr>
          <p:nvPr>
            <p:ph type="body" sz="quarter" idx="10" hasCustomPrompt="1"/>
          </p:nvPr>
        </p:nvSpPr>
        <p:spPr>
          <a:xfrm>
            <a:off x="855740" y="1309853"/>
            <a:ext cx="10060615" cy="1306365"/>
          </a:xfrm>
          <a:noFill/>
        </p:spPr>
        <p:txBody>
          <a:bodyPr lIns="0" tIns="0" rIns="0" bIns="0" anchor="b" anchorCtr="0">
            <a:normAutofit/>
          </a:bodyPr>
          <a:lstStyle>
            <a:lvl1pPr marL="0" indent="0" algn="l">
              <a:lnSpc>
                <a:spcPts val="5600"/>
              </a:lnSpc>
              <a:buFontTx/>
              <a:buNone/>
              <a:defRPr sz="6600" b="1">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Section Header</a:t>
            </a:r>
          </a:p>
        </p:txBody>
      </p:sp>
      <p:sp>
        <p:nvSpPr>
          <p:cNvPr id="3" name="Text Placeholder 3">
            <a:extLst>
              <a:ext uri="{FF2B5EF4-FFF2-40B4-BE49-F238E27FC236}">
                <a16:creationId xmlns:a16="http://schemas.microsoft.com/office/drawing/2014/main" id="{39A7D4DA-3313-441C-DF5B-10DFEE6D3A2F}"/>
              </a:ext>
            </a:extLst>
          </p:cNvPr>
          <p:cNvSpPr>
            <a:spLocks noGrp="1"/>
          </p:cNvSpPr>
          <p:nvPr>
            <p:ph type="body" sz="quarter" idx="11" hasCustomPrompt="1"/>
          </p:nvPr>
        </p:nvSpPr>
        <p:spPr>
          <a:xfrm>
            <a:off x="855739" y="3125026"/>
            <a:ext cx="6786839" cy="2982264"/>
          </a:xfrm>
        </p:spPr>
        <p:txBody>
          <a:bodyPr lIns="0" rIns="0">
            <a:normAutofit/>
          </a:bodyPr>
          <a:lstStyle>
            <a:lvl1pPr marL="0" indent="0">
              <a:buNone/>
              <a:defRPr sz="2400">
                <a:solidFill>
                  <a:schemeClr val="bg1"/>
                </a:solidFill>
              </a:defRPr>
            </a:lvl1pPr>
            <a:lvl2pPr marL="457200" indent="0">
              <a:buNone/>
              <a:defRPr>
                <a:solidFill>
                  <a:schemeClr val="bg1"/>
                </a:solidFill>
              </a:defRPr>
            </a:lvl2pPr>
            <a:lvl3pPr marL="914400" indent="0">
              <a:buNone/>
              <a:defRPr>
                <a:solidFill>
                  <a:schemeClr val="bg1"/>
                </a:solidFill>
              </a:defRPr>
            </a:lvl3pPr>
          </a:lstStyle>
          <a:p>
            <a:pPr lvl="0"/>
            <a:r>
              <a:rPr lang="en-US"/>
              <a:t>Text goes here …</a:t>
            </a:r>
          </a:p>
        </p:txBody>
      </p:sp>
      <p:pic>
        <p:nvPicPr>
          <p:cNvPr id="6" name="Picture 5">
            <a:extLst>
              <a:ext uri="{FF2B5EF4-FFF2-40B4-BE49-F238E27FC236}">
                <a16:creationId xmlns:a16="http://schemas.microsoft.com/office/drawing/2014/main" id="{2A421BCE-2C8B-DC79-F4FC-50E03BCF09B9}"/>
              </a:ext>
            </a:extLst>
          </p:cNvPr>
          <p:cNvPicPr>
            <a:picLocks noChangeAspect="1"/>
          </p:cNvPicPr>
          <p:nvPr userDrawn="1"/>
        </p:nvPicPr>
        <p:blipFill>
          <a:blip r:embed="rId3"/>
          <a:srcRect/>
          <a:stretch/>
        </p:blipFill>
        <p:spPr>
          <a:xfrm>
            <a:off x="277792" y="1607"/>
            <a:ext cx="277793" cy="277793"/>
          </a:xfrm>
          <a:prstGeom prst="rect">
            <a:avLst/>
          </a:prstGeom>
        </p:spPr>
      </p:pic>
      <p:pic>
        <p:nvPicPr>
          <p:cNvPr id="9" name="Picture 8">
            <a:extLst>
              <a:ext uri="{FF2B5EF4-FFF2-40B4-BE49-F238E27FC236}">
                <a16:creationId xmlns:a16="http://schemas.microsoft.com/office/drawing/2014/main" id="{B64422F2-CEE0-6A65-5F5C-D9999D4AA719}"/>
              </a:ext>
            </a:extLst>
          </p:cNvPr>
          <p:cNvPicPr>
            <a:picLocks noChangeAspect="1"/>
          </p:cNvPicPr>
          <p:nvPr userDrawn="1"/>
        </p:nvPicPr>
        <p:blipFill>
          <a:blip r:embed="rId4"/>
          <a:srcRect/>
          <a:stretch/>
        </p:blipFill>
        <p:spPr>
          <a:xfrm>
            <a:off x="9312421" y="5595101"/>
            <a:ext cx="2407715" cy="748648"/>
          </a:xfrm>
          <a:prstGeom prst="rect">
            <a:avLst/>
          </a:prstGeom>
        </p:spPr>
      </p:pic>
      <p:pic>
        <p:nvPicPr>
          <p:cNvPr id="13" name="Picture 12">
            <a:extLst>
              <a:ext uri="{FF2B5EF4-FFF2-40B4-BE49-F238E27FC236}">
                <a16:creationId xmlns:a16="http://schemas.microsoft.com/office/drawing/2014/main" id="{D355CB9E-1E50-B642-DD25-E9CDD6AC353F}"/>
              </a:ext>
            </a:extLst>
          </p:cNvPr>
          <p:cNvPicPr>
            <a:picLocks noChangeAspect="1"/>
          </p:cNvPicPr>
          <p:nvPr userDrawn="1"/>
        </p:nvPicPr>
        <p:blipFill>
          <a:blip r:embed="rId5"/>
          <a:srcRect/>
          <a:stretch/>
        </p:blipFill>
        <p:spPr>
          <a:xfrm>
            <a:off x="11795313" y="6183519"/>
            <a:ext cx="396687" cy="396687"/>
          </a:xfrm>
          <a:prstGeom prst="rect">
            <a:avLst/>
          </a:prstGeom>
        </p:spPr>
      </p:pic>
    </p:spTree>
    <p:extLst>
      <p:ext uri="{BB962C8B-B14F-4D97-AF65-F5344CB8AC3E}">
        <p14:creationId xmlns:p14="http://schemas.microsoft.com/office/powerpoint/2010/main" val="1462570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Gold w/Photo">
    <p:bg>
      <p:bgPr>
        <a:solidFill>
          <a:schemeClr val="bg1"/>
        </a:solidFill>
        <a:effectLst/>
      </p:bgPr>
    </p:bg>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F0410E6F-D471-B671-6E0C-74DBDEB712B7}"/>
              </a:ext>
            </a:extLst>
          </p:cNvPr>
          <p:cNvSpPr>
            <a:spLocks noGrp="1"/>
          </p:cNvSpPr>
          <p:nvPr>
            <p:ph type="pic" sz="quarter" idx="15" hasCustomPrompt="1"/>
          </p:nvPr>
        </p:nvSpPr>
        <p:spPr>
          <a:xfrm>
            <a:off x="0" y="0"/>
            <a:ext cx="12191999" cy="6858000"/>
          </a:xfrm>
          <a:solidFill>
            <a:schemeClr val="bg1">
              <a:lumMod val="95000"/>
            </a:schemeClr>
          </a:solidFill>
        </p:spPr>
        <p:txBody>
          <a:bodyPr anchor="ctr" anchorCtr="0"/>
          <a:lstStyle>
            <a:lvl1pPr marL="0" indent="0" algn="ctr">
              <a:buNone/>
              <a:defRPr>
                <a:solidFill>
                  <a:schemeClr val="accent1"/>
                </a:solidFill>
              </a:defRPr>
            </a:lvl1pPr>
          </a:lstStyle>
          <a:p>
            <a:r>
              <a:rPr lang="en-US"/>
              <a:t>Click to add a photo</a:t>
            </a:r>
          </a:p>
        </p:txBody>
      </p:sp>
      <p:sp>
        <p:nvSpPr>
          <p:cNvPr id="13" name="Title 1">
            <a:extLst>
              <a:ext uri="{FF2B5EF4-FFF2-40B4-BE49-F238E27FC236}">
                <a16:creationId xmlns:a16="http://schemas.microsoft.com/office/drawing/2014/main" id="{8BF17CFD-BC04-2F02-8D7E-11AABD843BB1}"/>
              </a:ext>
            </a:extLst>
          </p:cNvPr>
          <p:cNvSpPr>
            <a:spLocks noGrp="1"/>
          </p:cNvSpPr>
          <p:nvPr>
            <p:ph type="title" hasCustomPrompt="1"/>
          </p:nvPr>
        </p:nvSpPr>
        <p:spPr>
          <a:xfrm>
            <a:off x="718059" y="955618"/>
            <a:ext cx="3589496" cy="590931"/>
          </a:xfrm>
          <a:solidFill>
            <a:schemeClr val="accent2"/>
          </a:solidFill>
        </p:spPr>
        <p:txBody>
          <a:bodyPr wrap="square" lIns="91440" tIns="91440" rIns="0" bIns="0" anchor="t" anchorCtr="0">
            <a:spAutoFit/>
          </a:bodyPr>
          <a:lstStyle>
            <a:lvl1pPr>
              <a:defRPr sz="3600">
                <a:solidFill>
                  <a:schemeClr val="accent1"/>
                </a:solidFill>
              </a:defRPr>
            </a:lvl1pPr>
          </a:lstStyle>
          <a:p>
            <a:r>
              <a:rPr lang="en-US"/>
              <a:t>Section Header</a:t>
            </a:r>
          </a:p>
        </p:txBody>
      </p:sp>
      <p:sp>
        <p:nvSpPr>
          <p:cNvPr id="4" name="Slide Number Placeholder 4">
            <a:extLst>
              <a:ext uri="{FF2B5EF4-FFF2-40B4-BE49-F238E27FC236}">
                <a16:creationId xmlns:a16="http://schemas.microsoft.com/office/drawing/2014/main" id="{2E3A784E-6A31-CB09-800E-D3D8675BCAB6}"/>
              </a:ext>
            </a:extLst>
          </p:cNvPr>
          <p:cNvSpPr>
            <a:spLocks noGrp="1"/>
          </p:cNvSpPr>
          <p:nvPr>
            <p:ph type="sldNum" sz="quarter" idx="4"/>
          </p:nvPr>
        </p:nvSpPr>
        <p:spPr>
          <a:xfrm>
            <a:off x="10999197" y="6492875"/>
            <a:ext cx="1192803" cy="365125"/>
          </a:xfrm>
          <a:solidFill>
            <a:schemeClr val="accent1"/>
          </a:solidFill>
        </p:spPr>
        <p:txBody>
          <a:bodyPr lIns="182880"/>
          <a:lstStyle>
            <a:lvl1pPr algn="l">
              <a:defRPr/>
            </a:lvl1pPr>
          </a:lstStyle>
          <a:p>
            <a:r>
              <a:rPr lang="en-US" b="1">
                <a:solidFill>
                  <a:schemeClr val="accent2"/>
                </a:solidFill>
                <a:latin typeface="Arial" panose="020B0604020202020204" pitchFamily="34" charset="0"/>
                <a:cs typeface="Arial" panose="020B0604020202020204" pitchFamily="34" charset="0"/>
              </a:rPr>
              <a:t>Slide </a:t>
            </a:r>
            <a:fld id="{7CD06EFF-F9A5-9E40-A502-3D98189BE54D}" type="slidenum">
              <a:rPr lang="en-US" b="1" smtClean="0">
                <a:solidFill>
                  <a:schemeClr val="accent2"/>
                </a:solidFill>
                <a:latin typeface="Arial" panose="020B0604020202020204" pitchFamily="34" charset="0"/>
                <a:cs typeface="Arial" panose="020B0604020202020204" pitchFamily="34" charset="0"/>
              </a:rPr>
              <a:pPr/>
              <a:t>‹#›</a:t>
            </a:fld>
            <a:endParaRPr lang="en-US" b="1">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67201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 Single Column">
    <p:bg>
      <p:bgPr>
        <a:solidFill>
          <a:schemeClr val="bg1"/>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9DA80ABA-642B-4CD6-4C1C-51D2AF4F572B}"/>
              </a:ext>
            </a:extLst>
          </p:cNvPr>
          <p:cNvSpPr>
            <a:spLocks noGrp="1"/>
          </p:cNvSpPr>
          <p:nvPr>
            <p:ph type="body" sz="quarter" idx="15" hasCustomPrompt="1"/>
          </p:nvPr>
        </p:nvSpPr>
        <p:spPr>
          <a:xfrm>
            <a:off x="992355" y="476789"/>
            <a:ext cx="10757719" cy="714726"/>
          </a:xfrm>
        </p:spPr>
        <p:txBody>
          <a:bodyPr lIns="0" rIns="0">
            <a:normAutofit/>
          </a:bodyPr>
          <a:lstStyle>
            <a:lvl1pPr marL="0" indent="0" algn="l">
              <a:lnSpc>
                <a:spcPct val="90000"/>
              </a:lnSpc>
              <a:buFontTx/>
              <a:buNone/>
              <a:defRPr sz="4000" b="1">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and Bullet Single Column</a:t>
            </a:r>
          </a:p>
        </p:txBody>
      </p:sp>
      <p:sp>
        <p:nvSpPr>
          <p:cNvPr id="25" name="Text Placeholder 3">
            <a:extLst>
              <a:ext uri="{FF2B5EF4-FFF2-40B4-BE49-F238E27FC236}">
                <a16:creationId xmlns:a16="http://schemas.microsoft.com/office/drawing/2014/main" id="{D23964E1-6855-DA34-3FCD-C6CB08B5859D}"/>
              </a:ext>
            </a:extLst>
          </p:cNvPr>
          <p:cNvSpPr>
            <a:spLocks noGrp="1"/>
          </p:cNvSpPr>
          <p:nvPr>
            <p:ph type="body" sz="quarter" idx="10" hasCustomPrompt="1"/>
          </p:nvPr>
        </p:nvSpPr>
        <p:spPr>
          <a:xfrm>
            <a:off x="991698" y="1668250"/>
            <a:ext cx="10758375" cy="3807265"/>
          </a:xfrm>
        </p:spPr>
        <p:txBody>
          <a:bodyPr lIns="0" rIns="0">
            <a:normAutofit/>
          </a:bodyPr>
          <a:lstStyle>
            <a:lvl1pPr>
              <a:defRPr sz="2400"/>
            </a:lvl1pPr>
            <a:lvl2pPr>
              <a:defRPr/>
            </a:lvl2pPr>
            <a:lvl3pPr>
              <a:defRPr/>
            </a:lvl3pPr>
          </a:lstStyle>
          <a:p>
            <a:pPr lvl="0"/>
            <a:r>
              <a:rPr lang="en-US"/>
              <a:t>Item One</a:t>
            </a:r>
          </a:p>
          <a:p>
            <a:pPr lvl="0"/>
            <a:r>
              <a:rPr lang="en-US"/>
              <a:t>Item Two</a:t>
            </a:r>
          </a:p>
          <a:p>
            <a:pPr lvl="0"/>
            <a:r>
              <a:rPr lang="en-US"/>
              <a:t>Item Three</a:t>
            </a:r>
          </a:p>
          <a:p>
            <a:pPr lvl="1"/>
            <a:r>
              <a:rPr lang="en-US"/>
              <a:t>Sub Bullet One</a:t>
            </a:r>
          </a:p>
          <a:p>
            <a:pPr lvl="2"/>
            <a:r>
              <a:rPr lang="en-US"/>
              <a:t>Sub Bullet Two</a:t>
            </a:r>
          </a:p>
        </p:txBody>
      </p:sp>
      <p:pic>
        <p:nvPicPr>
          <p:cNvPr id="2" name="Picture 1" descr="A blue and white checkered flag&#10;&#10;Description automatically generated">
            <a:extLst>
              <a:ext uri="{FF2B5EF4-FFF2-40B4-BE49-F238E27FC236}">
                <a16:creationId xmlns:a16="http://schemas.microsoft.com/office/drawing/2014/main" id="{4502C974-BE97-9E07-A60C-77904D1327C9}"/>
              </a:ext>
            </a:extLst>
          </p:cNvPr>
          <p:cNvPicPr>
            <a:picLocks noChangeAspect="1"/>
          </p:cNvPicPr>
          <p:nvPr userDrawn="1"/>
        </p:nvPicPr>
        <p:blipFill>
          <a:blip r:embed="rId2"/>
          <a:stretch>
            <a:fillRect/>
          </a:stretch>
        </p:blipFill>
        <p:spPr>
          <a:xfrm>
            <a:off x="277792" y="0"/>
            <a:ext cx="277793" cy="277793"/>
          </a:xfrm>
          <a:prstGeom prst="rect">
            <a:avLst/>
          </a:prstGeom>
        </p:spPr>
      </p:pic>
      <p:sp>
        <p:nvSpPr>
          <p:cNvPr id="3" name="Rectangle 2">
            <a:extLst>
              <a:ext uri="{FF2B5EF4-FFF2-40B4-BE49-F238E27FC236}">
                <a16:creationId xmlns:a16="http://schemas.microsoft.com/office/drawing/2014/main" id="{D8F8999F-FC95-EF35-5D2F-AD1F29B319D7}"/>
              </a:ext>
            </a:extLst>
          </p:cNvPr>
          <p:cNvSpPr/>
          <p:nvPr userDrawn="1"/>
        </p:nvSpPr>
        <p:spPr>
          <a:xfrm>
            <a:off x="0" y="276932"/>
            <a:ext cx="277792" cy="65810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5" name="Rectangle 4">
            <a:extLst>
              <a:ext uri="{FF2B5EF4-FFF2-40B4-BE49-F238E27FC236}">
                <a16:creationId xmlns:a16="http://schemas.microsoft.com/office/drawing/2014/main" id="{A4347CFB-3AF5-71EE-EA0E-FDB3F158A00F}"/>
              </a:ext>
            </a:extLst>
          </p:cNvPr>
          <p:cNvSpPr/>
          <p:nvPr userDrawn="1"/>
        </p:nvSpPr>
        <p:spPr>
          <a:xfrm>
            <a:off x="0" y="0"/>
            <a:ext cx="277794" cy="27693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85353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C2BD5778-B21B-40B6-9CEF-79B0D59AC2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CD06EFF-F9A5-9E40-A502-3D98189BE54D}" type="slidenum">
              <a:rPr lang="en-US" smtClean="0"/>
              <a:t>‹#›</a:t>
            </a:fld>
            <a:endParaRPr lang="en-US"/>
          </a:p>
        </p:txBody>
      </p:sp>
    </p:spTree>
    <p:extLst>
      <p:ext uri="{BB962C8B-B14F-4D97-AF65-F5344CB8AC3E}">
        <p14:creationId xmlns:p14="http://schemas.microsoft.com/office/powerpoint/2010/main" val="2659633419"/>
      </p:ext>
    </p:extLst>
  </p:cSld>
  <p:clrMap bg1="lt1" tx1="dk1" bg2="lt2" tx2="dk2" accent1="accent1" accent2="accent2" accent3="accent3" accent4="accent4" accent5="accent5" accent6="accent6" hlink="hlink" folHlink="folHlink"/>
  <p:sldLayoutIdLst>
    <p:sldLayoutId id="2147483728" r:id="rId1"/>
    <p:sldLayoutId id="2147483723" r:id="rId2"/>
    <p:sldLayoutId id="2147483727" r:id="rId3"/>
    <p:sldLayoutId id="2147483731" r:id="rId4"/>
    <p:sldLayoutId id="2147483729" r:id="rId5"/>
    <p:sldLayoutId id="2147483730" r:id="rId6"/>
    <p:sldLayoutId id="2147483753" r:id="rId7"/>
    <p:sldLayoutId id="2147483751" r:id="rId8"/>
    <p:sldLayoutId id="2147483732" r:id="rId9"/>
    <p:sldLayoutId id="2147483736" r:id="rId10"/>
    <p:sldLayoutId id="2147483735" r:id="rId11"/>
    <p:sldLayoutId id="2147483739" r:id="rId12"/>
    <p:sldLayoutId id="2147483740" r:id="rId13"/>
    <p:sldLayoutId id="2147483737" r:id="rId14"/>
    <p:sldLayoutId id="2147483738" r:id="rId15"/>
    <p:sldLayoutId id="2147483742" r:id="rId16"/>
    <p:sldLayoutId id="2147483743" r:id="rId17"/>
    <p:sldLayoutId id="2147483745" r:id="rId18"/>
    <p:sldLayoutId id="2147483744" r:id="rId19"/>
    <p:sldLayoutId id="2147483750" r:id="rId20"/>
    <p:sldLayoutId id="2147483754" r:id="rId21"/>
    <p:sldLayoutId id="2147483746" r:id="rId22"/>
    <p:sldLayoutId id="2147483747" r:id="rId23"/>
    <p:sldLayoutId id="2147483755" r:id="rId24"/>
    <p:sldLayoutId id="2147483748" r:id="rId25"/>
    <p:sldLayoutId id="2147483749" r:id="rId26"/>
    <p:sldLayoutId id="2147483756" r:id="rId27"/>
    <p:sldLayoutId id="2147483757" r:id="rId28"/>
  </p:sldLayoutIdLst>
  <p:hf hdr="0" ftr="0" dt="0"/>
  <p:txStyles>
    <p:titleStyle>
      <a:lvl1pPr algn="l" defTabSz="914400" rtl="0" eaLnBrk="1" latinLnBrk="0" hangingPunct="1">
        <a:lnSpc>
          <a:spcPct val="90000"/>
        </a:lnSpc>
        <a:spcBef>
          <a:spcPct val="0"/>
        </a:spcBef>
        <a:buNone/>
        <a:defRPr sz="4000" b="1" i="0" kern="1200">
          <a:solidFill>
            <a:schemeClr val="bg2">
              <a:lumMod val="25000"/>
            </a:schemeClr>
          </a:solidFill>
          <a:latin typeface="Arial" panose="020B0604020202020204" pitchFamily="34" charset="0"/>
          <a:ea typeface="+mj-ea"/>
          <a:cs typeface="Arial" panose="020B0604020202020204" pitchFamily="34" charset="0"/>
        </a:defRPr>
      </a:lvl1pPr>
    </p:titleStyle>
    <p:body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microsoft.com/office/2007/relationships/diagramDrawing" Target="../diagrams/drawing7.xml"/><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hyperlink" Target="https://www.vedp.org/industry/data-centers?utm_source=Paid_Search&amp;utm_medium=Google&amp;utm_campaign=2019_SiteSelectors&amp;utm_term=DataCenters&amp;gad_source=1&amp;gclid=Cj0KCQiA_qG5BhDTARIsAA0UHSKPJsjzBAUjdj8J6o30rs_ODaC31GjzNZMRS_DNi18IT7XQIU_10-oaAiyyEALw_wcB" TargetMode="External"/><Relationship Id="rId7" Type="http://schemas.openxmlformats.org/officeDocument/2006/relationships/diagramColors" Target="../diagrams/colors7.xml"/><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image" Target="../media/image24.png"/><Relationship Id="rId16" Type="http://schemas.openxmlformats.org/officeDocument/2006/relationships/image" Target="../media/image32.svg"/><Relationship Id="rId1" Type="http://schemas.openxmlformats.org/officeDocument/2006/relationships/slideLayout" Target="../slideLayouts/slideLayout9.xml"/><Relationship Id="rId6" Type="http://schemas.openxmlformats.org/officeDocument/2006/relationships/diagramQuickStyle" Target="../diagrams/quickStyle7.xml"/><Relationship Id="rId11" Type="http://schemas.openxmlformats.org/officeDocument/2006/relationships/image" Target="../media/image27.png"/><Relationship Id="rId5" Type="http://schemas.openxmlformats.org/officeDocument/2006/relationships/diagramLayout" Target="../diagrams/layout7.xml"/><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diagramData" Target="../diagrams/data7.xml"/><Relationship Id="rId9" Type="http://schemas.openxmlformats.org/officeDocument/2006/relationships/image" Target="../media/image25.png"/><Relationship Id="rId14" Type="http://schemas.openxmlformats.org/officeDocument/2006/relationships/image" Target="../media/image30.sv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13.png"/><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hyperlink" Target="https://dced.pa.gov/pennsylvania/?reportname=mapping" TargetMode="External"/><Relationship Id="rId5" Type="http://schemas.openxmlformats.org/officeDocument/2006/relationships/image" Target="../media/image36.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chart" Target="../charts/chart1.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13.png"/><Relationship Id="rId2" Type="http://schemas.openxmlformats.org/officeDocument/2006/relationships/diagramData" Target="../diagrams/data10.xml"/><Relationship Id="rId1" Type="http://schemas.openxmlformats.org/officeDocument/2006/relationships/slideLayout" Target="../slideLayouts/slideLayout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13.png"/><Relationship Id="rId2" Type="http://schemas.openxmlformats.org/officeDocument/2006/relationships/diagramData" Target="../diagrams/data11.xml"/><Relationship Id="rId1" Type="http://schemas.openxmlformats.org/officeDocument/2006/relationships/slideLayout" Target="../slideLayouts/slideLayout9.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hyperlink" Target="https://methanewatch.kayrros.com/map"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www.datacenters.com/news/why-northern-virginia-dominates-the-data-center-market-who-s-building-and-where" TargetMode="External"/><Relationship Id="rId13" Type="http://schemas.openxmlformats.org/officeDocument/2006/relationships/image" Target="../media/image42.png"/><Relationship Id="rId3" Type="http://schemas.openxmlformats.org/officeDocument/2006/relationships/hyperlink" Target="https://www.flir.com/instruments/optical-gas-imaging/?form=MG0AV3" TargetMode="External"/><Relationship Id="rId7" Type="http://schemas.openxmlformats.org/officeDocument/2006/relationships/hyperlink" Target="https://www.satelytics.com/solutions/pipeline" TargetMode="External"/><Relationship Id="rId12" Type="http://schemas.openxmlformats.org/officeDocument/2006/relationships/hyperlink" Target="https://datacenterhawk.com/resources/market-insights/why-the-northern-virginia-data-center-market-keeps-growing" TargetMode="External"/><Relationship Id="rId2" Type="http://schemas.openxmlformats.org/officeDocument/2006/relationships/hyperlink" Target="https://infraredcameras.com/" TargetMode="External"/><Relationship Id="rId1" Type="http://schemas.openxmlformats.org/officeDocument/2006/relationships/slideLayout" Target="../slideLayouts/slideLayout10.xml"/><Relationship Id="rId6" Type="http://schemas.openxmlformats.org/officeDocument/2006/relationships/hyperlink" Target="https://www.kayrros.com/" TargetMode="External"/><Relationship Id="rId11" Type="http://schemas.openxmlformats.org/officeDocument/2006/relationships/hyperlink" Target="https://www.pecva.org/our-work/energy-matters/data-centers-energy-demand/" TargetMode="External"/><Relationship Id="rId5" Type="http://schemas.openxmlformats.org/officeDocument/2006/relationships/hyperlink" Target="https://www.ghgsat.com/en/" TargetMode="External"/><Relationship Id="rId10" Type="http://schemas.openxmlformats.org/officeDocument/2006/relationships/hyperlink" Target="https://www.dominionenergy.com/virginia/rates-and-tariffs/business-rates" TargetMode="External"/><Relationship Id="rId4" Type="http://schemas.openxmlformats.org/officeDocument/2006/relationships/hyperlink" Target="https://www.opgal.com/blog/optical-gas-imaging-ogi/what-is-optical-gas-imaging-explanation-in-a-nutshell/?form=MG0AV3" TargetMode="External"/><Relationship Id="rId9" Type="http://schemas.openxmlformats.org/officeDocument/2006/relationships/hyperlink" Target="https://blog.vantage-dc.com/2020/08/21/what-made-northern-virginia-the-worlds-largest-data-center-market/" TargetMode="External"/><Relationship Id="rId14" Type="http://schemas.openxmlformats.org/officeDocument/2006/relationships/image" Target="../media/image13.png"/></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12" Type="http://schemas.openxmlformats.org/officeDocument/2006/relationships/image" Target="../media/image13.png"/><Relationship Id="rId2" Type="http://schemas.openxmlformats.org/officeDocument/2006/relationships/diagramData" Target="../diagrams/data13.xml"/><Relationship Id="rId1" Type="http://schemas.openxmlformats.org/officeDocument/2006/relationships/slideLayout" Target="../slideLayouts/slideLayout9.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3.png"/><Relationship Id="rId1" Type="http://schemas.openxmlformats.org/officeDocument/2006/relationships/slideLayout" Target="../slideLayouts/slideLayout10.xml"/><Relationship Id="rId4" Type="http://schemas.openxmlformats.org/officeDocument/2006/relationships/hyperlink" Target="https://henrico.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13.png"/><Relationship Id="rId3" Type="http://schemas.openxmlformats.org/officeDocument/2006/relationships/image" Target="../media/image47.png"/><Relationship Id="rId7" Type="http://schemas.openxmlformats.org/officeDocument/2006/relationships/image" Target="../media/image49.png"/><Relationship Id="rId12" Type="http://schemas.openxmlformats.org/officeDocument/2006/relationships/image" Target="../media/image51.png"/><Relationship Id="rId2" Type="http://schemas.openxmlformats.org/officeDocument/2006/relationships/hyperlink" Target="https://broadbandmap.fcc.gov/" TargetMode="External"/><Relationship Id="rId1" Type="http://schemas.openxmlformats.org/officeDocument/2006/relationships/slideLayout" Target="../slideLayouts/slideLayout9.xml"/><Relationship Id="rId6" Type="http://schemas.openxmlformats.org/officeDocument/2006/relationships/customXml" Target="../ink/ink2.xml"/><Relationship Id="rId11" Type="http://schemas.openxmlformats.org/officeDocument/2006/relationships/customXml" Target="../ink/ink5.xml"/><Relationship Id="rId5" Type="http://schemas.openxmlformats.org/officeDocument/2006/relationships/image" Target="../media/image48.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50.png"/></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54.png"/></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diagramData" Target="../diagrams/data2.xml"/><Relationship Id="rId18" Type="http://schemas.openxmlformats.org/officeDocument/2006/relationships/image" Target="../media/image13.png"/><Relationship Id="rId3" Type="http://schemas.openxmlformats.org/officeDocument/2006/relationships/oleObject" Target="../embeddings/oleObject1.bin"/><Relationship Id="rId7" Type="http://schemas.openxmlformats.org/officeDocument/2006/relationships/image" Target="../media/image18.png"/><Relationship Id="rId12" Type="http://schemas.openxmlformats.org/officeDocument/2006/relationships/image" Target="../media/image23.svg"/><Relationship Id="rId17" Type="http://schemas.microsoft.com/office/2007/relationships/diagramDrawing" Target="../diagrams/drawing2.xml"/><Relationship Id="rId2" Type="http://schemas.openxmlformats.org/officeDocument/2006/relationships/slideLayout" Target="../slideLayouts/slideLayout28.xml"/><Relationship Id="rId16" Type="http://schemas.openxmlformats.org/officeDocument/2006/relationships/diagramColors" Target="../diagrams/colors2.xml"/><Relationship Id="rId1" Type="http://schemas.openxmlformats.org/officeDocument/2006/relationships/tags" Target="../tags/tag1.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diagramQuickStyle" Target="../diagrams/quickStyle2.xml"/><Relationship Id="rId10" Type="http://schemas.openxmlformats.org/officeDocument/2006/relationships/image" Target="../media/image21.svg"/><Relationship Id="rId4" Type="http://schemas.openxmlformats.org/officeDocument/2006/relationships/image" Target="../media/image15.emf"/><Relationship Id="rId9" Type="http://schemas.openxmlformats.org/officeDocument/2006/relationships/image" Target="../media/image20.png"/><Relationship Id="rId1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8" Type="http://schemas.openxmlformats.org/officeDocument/2006/relationships/hyperlink" Target="https://www.gem.wiki/Elrama_Power_Plant?utm_source=chatgpt.com" TargetMode="External"/><Relationship Id="rId13" Type="http://schemas.openxmlformats.org/officeDocument/2006/relationships/hyperlink" Target="https://www.gem.wiki/Armstrong_power_station?utm_source=chatgpt.com" TargetMode="External"/><Relationship Id="rId18" Type="http://schemas.openxmlformats.org/officeDocument/2006/relationships/hyperlink" Target="https://dced.pa.gov/coal-fired-power-plant-redevelopment-playbooks/titus-station-power-plant/?utm_source=chatgpt.com" TargetMode="External"/><Relationship Id="rId3" Type="http://schemas.openxmlformats.org/officeDocument/2006/relationships/hyperlink" Target="https://dced.pa.gov/" TargetMode="External"/><Relationship Id="rId21" Type="http://schemas.openxmlformats.org/officeDocument/2006/relationships/hyperlink" Target="https://dced.pa.gov/coal-fired-power-plant-redevelopment-playbooks/?utm_source=chatgpt.com" TargetMode="External"/><Relationship Id="rId7" Type="http://schemas.openxmlformats.org/officeDocument/2006/relationships/hyperlink" Target="https://dced.pa.gov/coal-fired-power-plant-redevelopment-playbooks/bruce-mansfield-power-plant/?utm_source=chatgpt.com" TargetMode="External"/><Relationship Id="rId12" Type="http://schemas.openxmlformats.org/officeDocument/2006/relationships/image" Target="../media/image55.jpeg"/><Relationship Id="rId17" Type="http://schemas.openxmlformats.org/officeDocument/2006/relationships/hyperlink" Target="https://triblive.com/local/valley-news-dispatch/site-of-former-springdale-power-plant-to-be-sold-to-data-center-developer/?utm_source=chatgpt.com" TargetMode="External"/><Relationship Id="rId2" Type="http://schemas.openxmlformats.org/officeDocument/2006/relationships/notesSlide" Target="../notesSlides/notesSlide6.xml"/><Relationship Id="rId16" Type="http://schemas.openxmlformats.org/officeDocument/2006/relationships/hyperlink" Target="https://charah.com/charah-solutions-completes-full-acquisition-of-cheswick-generating-station-and-related-facilities-from-genon-for-sustainable-environmental-remediation-and-redevelopment-of-properties/?utm_source=chatgpt.com" TargetMode="External"/><Relationship Id="rId20" Type="http://schemas.openxmlformats.org/officeDocument/2006/relationships/hyperlink" Target="https://ground.news/article/rail-terminal-reopens-at-former-titus-generating-station?utm_source=chatgpt.com" TargetMode="External"/><Relationship Id="rId1" Type="http://schemas.openxmlformats.org/officeDocument/2006/relationships/slideLayout" Target="../slideLayouts/slideLayout9.xml"/><Relationship Id="rId6" Type="http://schemas.openxmlformats.org/officeDocument/2006/relationships/hyperlink" Target="https://en.wikipedia.org/wiki/Bruce_Mansfield_Power_Plant" TargetMode="External"/><Relationship Id="rId11" Type="http://schemas.openxmlformats.org/officeDocument/2006/relationships/hyperlink" Target="https://triblive.com/local/westmoreland/former-elrama-power-plant-boiler-house-imploded-more-to-come/?utm_source=chatgpt.com" TargetMode="External"/><Relationship Id="rId24" Type="http://schemas.openxmlformats.org/officeDocument/2006/relationships/image" Target="../media/image13.png"/><Relationship Id="rId5" Type="http://schemas.openxmlformats.org/officeDocument/2006/relationships/hyperlink" Target="https://en.wikipedia.org/wiki/Homer_City_Generating_Station" TargetMode="External"/><Relationship Id="rId15" Type="http://schemas.openxmlformats.org/officeDocument/2006/relationships/hyperlink" Target="https://www.gem.wiki/Cheswick_Power_Station?utm_source=chatgpt.com" TargetMode="External"/><Relationship Id="rId23" Type="http://schemas.openxmlformats.org/officeDocument/2006/relationships/hyperlink" Target="https://www.epa.gov/superfund-redevelopment/superfund-sites-reuse-pennsylvania?utm_source=chatgpt.com" TargetMode="External"/><Relationship Id="rId10" Type="http://schemas.openxmlformats.org/officeDocument/2006/relationships/hyperlink" Target="https://www.cdrecycler.com/news/demo-crews-implode-former-elrama-power-plant-in-pennsylvania/?utm_source=chatgpt.com" TargetMode="External"/><Relationship Id="rId19" Type="http://schemas.openxmlformats.org/officeDocument/2006/relationships/hyperlink" Target="https://www.yahoo.com/news/rail-terminal-reopens-former-titus-114600244.html?utm_source=chatgpt.com" TargetMode="External"/><Relationship Id="rId4" Type="http://schemas.openxmlformats.org/officeDocument/2006/relationships/hyperlink" Target="https://www.pa.gov/agencies/dep/about-dep/regional-office-locations/northwest-regional-office/northwest-community-information/homer-city-generation-redevelopment.html" TargetMode="External"/><Relationship Id="rId9" Type="http://schemas.openxmlformats.org/officeDocument/2006/relationships/hyperlink" Target="https://www.observer-reporter.com/news/2023/sep/20/going-going-gone-crews-implode-elrama-power-plant-smokestack/?utm_source=chatgpt.com" TargetMode="External"/><Relationship Id="rId14" Type="http://schemas.openxmlformats.org/officeDocument/2006/relationships/hyperlink" Target="https://www.power-technology.com/data-insights/power-plant-profile-armstrong-power-plant-us/?utm_source=chatgpt.com" TargetMode="External"/><Relationship Id="rId22" Type="http://schemas.openxmlformats.org/officeDocument/2006/relationships/hyperlink" Target="https://www.pnnl.gov/sites/default/files/media/file/PNNL-36187-Assessing%20Energy-Related%20Redevelopment%20Options%20for%20PA%20Retired%20Coal%20Power%20Plants.pdf?utm_source=chatgpt.com"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news.dominionenergy.com/" TargetMode="External"/><Relationship Id="rId3" Type="http://schemas.openxmlformats.org/officeDocument/2006/relationships/hyperlink" Target="https://www.h-quest.com/" TargetMode="External"/><Relationship Id="rId7" Type="http://schemas.openxmlformats.org/officeDocument/2006/relationships/hyperlink" Target="https://www.puc.pa.gov/filing-resources/tariffs/natural-gas-tariffs/" TargetMode="External"/><Relationship Id="rId12" Type="http://schemas.openxmlformats.org/officeDocument/2006/relationships/hyperlink" Target="https://www.phila.gov/programs/keystone-opportunity-zones/" TargetMode="External"/><Relationship Id="rId2" Type="http://schemas.openxmlformats.org/officeDocument/2006/relationships/image" Target="../media/image13.png"/><Relationship Id="rId1" Type="http://schemas.openxmlformats.org/officeDocument/2006/relationships/slideLayout" Target="../slideLayouts/slideLayout10.xml"/><Relationship Id="rId6" Type="http://schemas.openxmlformats.org/officeDocument/2006/relationships/hyperlink" Target="https://www.vedp.org/industry/data-centers" TargetMode="External"/><Relationship Id="rId11" Type="http://schemas.openxmlformats.org/officeDocument/2006/relationships/hyperlink" Target="https://methanewatch.kayrros.com/map" TargetMode="External"/><Relationship Id="rId5" Type="http://schemas.openxmlformats.org/officeDocument/2006/relationships/hyperlink" Target="https://dced.pa.gov/programs-funding/coal-plant-redevelopment-playbooks/mitchell-power-station/" TargetMode="External"/><Relationship Id="rId10" Type="http://schemas.openxmlformats.org/officeDocument/2006/relationships/hyperlink" Target="https://www.ghgsat.com/" TargetMode="External"/><Relationship Id="rId4" Type="http://schemas.openxmlformats.org/officeDocument/2006/relationships/hyperlink" Target="https://www.energy.gov/eere/fuelcells/us-national-clean-hydrogen-strategy-and-roadmap" TargetMode="External"/><Relationship Id="rId9" Type="http://schemas.openxmlformats.org/officeDocument/2006/relationships/hyperlink" Target="https://broadbandmap.fcc.gov/" TargetMode="Externa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3.png"/><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3.png"/><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3.png"/><Relationship Id="rId2" Type="http://schemas.openxmlformats.org/officeDocument/2006/relationships/diagramData" Target="../diagrams/data5.xml"/><Relationship Id="rId1" Type="http://schemas.openxmlformats.org/officeDocument/2006/relationships/slideLayout" Target="../slideLayouts/slideLayout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13.png"/><Relationship Id="rId2" Type="http://schemas.openxmlformats.org/officeDocument/2006/relationships/diagramData" Target="../diagrams/data6.xml"/><Relationship Id="rId1" Type="http://schemas.openxmlformats.org/officeDocument/2006/relationships/slideLayout" Target="../slideLayouts/slideLayout2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6239D0-CD03-9078-C31B-36E65AF421FB}"/>
              </a:ext>
            </a:extLst>
          </p:cNvPr>
          <p:cNvSpPr>
            <a:spLocks noGrp="1"/>
          </p:cNvSpPr>
          <p:nvPr>
            <p:ph type="body" sz="quarter" idx="12"/>
          </p:nvPr>
        </p:nvSpPr>
        <p:spPr/>
        <p:txBody>
          <a:bodyPr/>
          <a:lstStyle/>
          <a:p>
            <a:endParaRPr lang="en-US" noProof="0"/>
          </a:p>
        </p:txBody>
      </p:sp>
      <p:sp>
        <p:nvSpPr>
          <p:cNvPr id="3" name="Text Placeholder 2">
            <a:extLst>
              <a:ext uri="{FF2B5EF4-FFF2-40B4-BE49-F238E27FC236}">
                <a16:creationId xmlns:a16="http://schemas.microsoft.com/office/drawing/2014/main" id="{E56154FD-34B9-F095-D450-768384120756}"/>
              </a:ext>
            </a:extLst>
          </p:cNvPr>
          <p:cNvSpPr>
            <a:spLocks noGrp="1"/>
          </p:cNvSpPr>
          <p:nvPr>
            <p:ph type="body" sz="quarter" idx="13"/>
          </p:nvPr>
        </p:nvSpPr>
        <p:spPr/>
        <p:txBody>
          <a:bodyPr/>
          <a:lstStyle/>
          <a:p>
            <a:endParaRPr lang="en-US" noProof="0"/>
          </a:p>
        </p:txBody>
      </p:sp>
      <p:sp>
        <p:nvSpPr>
          <p:cNvPr id="4" name="Text Placeholder 3">
            <a:extLst>
              <a:ext uri="{FF2B5EF4-FFF2-40B4-BE49-F238E27FC236}">
                <a16:creationId xmlns:a16="http://schemas.microsoft.com/office/drawing/2014/main" id="{64A8F259-72C2-37C1-8E39-AFC98A7326EB}"/>
              </a:ext>
            </a:extLst>
          </p:cNvPr>
          <p:cNvSpPr>
            <a:spLocks noGrp="1"/>
          </p:cNvSpPr>
          <p:nvPr>
            <p:ph type="body" sz="quarter" idx="15"/>
          </p:nvPr>
        </p:nvSpPr>
        <p:spPr/>
        <p:txBody>
          <a:bodyPr/>
          <a:lstStyle/>
          <a:p>
            <a:endParaRPr lang="en-US" noProof="0"/>
          </a:p>
        </p:txBody>
      </p:sp>
      <p:sp>
        <p:nvSpPr>
          <p:cNvPr id="5" name="Text Placeholder 4">
            <a:extLst>
              <a:ext uri="{FF2B5EF4-FFF2-40B4-BE49-F238E27FC236}">
                <a16:creationId xmlns:a16="http://schemas.microsoft.com/office/drawing/2014/main" id="{0B8843B9-80E3-CF50-E1D9-0A1505AEC084}"/>
              </a:ext>
            </a:extLst>
          </p:cNvPr>
          <p:cNvSpPr>
            <a:spLocks noGrp="1"/>
          </p:cNvSpPr>
          <p:nvPr>
            <p:ph type="body" sz="quarter" idx="14"/>
          </p:nvPr>
        </p:nvSpPr>
        <p:spPr/>
        <p:txBody>
          <a:bodyPr/>
          <a:lstStyle/>
          <a:p>
            <a:endParaRPr lang="en-US" noProof="0"/>
          </a:p>
        </p:txBody>
      </p:sp>
      <p:pic>
        <p:nvPicPr>
          <p:cNvPr id="6" name="Picture 5">
            <a:extLst>
              <a:ext uri="{FF2B5EF4-FFF2-40B4-BE49-F238E27FC236}">
                <a16:creationId xmlns:a16="http://schemas.microsoft.com/office/drawing/2014/main" id="{33CB8230-91F6-941E-0726-C2E6E597518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44543"/>
            <a:ext cx="12696669" cy="7075357"/>
          </a:xfrm>
          <a:prstGeom prst="rect">
            <a:avLst/>
          </a:prstGeom>
        </p:spPr>
      </p:pic>
      <p:pic>
        <p:nvPicPr>
          <p:cNvPr id="7" name="Picture 6">
            <a:extLst>
              <a:ext uri="{FF2B5EF4-FFF2-40B4-BE49-F238E27FC236}">
                <a16:creationId xmlns:a16="http://schemas.microsoft.com/office/drawing/2014/main" id="{BEFE6ED9-56D2-3658-9CE9-99F27BF3484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44543"/>
            <a:ext cx="12696669" cy="7075357"/>
          </a:xfrm>
          <a:prstGeom prst="rect">
            <a:avLst/>
          </a:prstGeom>
        </p:spPr>
      </p:pic>
      <p:pic>
        <p:nvPicPr>
          <p:cNvPr id="8" name="Picture 7">
            <a:extLst>
              <a:ext uri="{FF2B5EF4-FFF2-40B4-BE49-F238E27FC236}">
                <a16:creationId xmlns:a16="http://schemas.microsoft.com/office/drawing/2014/main" id="{78864519-83B5-212B-B601-0957657F24F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5184" y="830143"/>
            <a:ext cx="2503314" cy="397463"/>
          </a:xfrm>
          <a:prstGeom prst="rect">
            <a:avLst/>
          </a:prstGeom>
        </p:spPr>
      </p:pic>
      <p:sp>
        <p:nvSpPr>
          <p:cNvPr id="12" name="TextBox 16">
            <a:extLst>
              <a:ext uri="{FF2B5EF4-FFF2-40B4-BE49-F238E27FC236}">
                <a16:creationId xmlns:a16="http://schemas.microsoft.com/office/drawing/2014/main" id="{45CE1FFC-FEC9-6DA9-C23B-29E4558001AB}"/>
              </a:ext>
            </a:extLst>
          </p:cNvPr>
          <p:cNvSpPr txBox="1"/>
          <p:nvPr/>
        </p:nvSpPr>
        <p:spPr>
          <a:xfrm>
            <a:off x="314081" y="1956258"/>
            <a:ext cx="6746181" cy="1461939"/>
          </a:xfrm>
          <a:prstGeom prst="rect">
            <a:avLst/>
          </a:prstGeom>
        </p:spPr>
        <p:txBody>
          <a:bodyPr wrap="square" lIns="0" tIns="0" rIns="0" bIns="0" rtlCol="0" anchor="t">
            <a:spAutoFit/>
          </a:bodyPr>
          <a:lstStyle/>
          <a:p>
            <a:pPr algn="ctr">
              <a:lnSpc>
                <a:spcPts val="3023"/>
              </a:lnSpc>
              <a:spcBef>
                <a:spcPct val="0"/>
              </a:spcBef>
            </a:pPr>
            <a:r>
              <a:rPr lang="en-US" sz="3200" b="1" noProof="0">
                <a:solidFill>
                  <a:schemeClr val="accent2"/>
                </a:solidFill>
                <a:latin typeface="Arial" panose="020B0604020202020204" pitchFamily="34" charset="0"/>
                <a:ea typeface="Calibri (MS) Bold"/>
                <a:cs typeface="Arial" panose="020B0604020202020204" pitchFamily="34" charset="0"/>
                <a:sym typeface="Calibri (MS) Bold"/>
              </a:rPr>
              <a:t>Peoples Gas &amp; Pitt CSB </a:t>
            </a:r>
          </a:p>
          <a:p>
            <a:pPr algn="ctr">
              <a:lnSpc>
                <a:spcPts val="3023"/>
              </a:lnSpc>
              <a:spcBef>
                <a:spcPct val="0"/>
              </a:spcBef>
            </a:pPr>
            <a:r>
              <a:rPr lang="en-US" sz="3200" b="1">
                <a:solidFill>
                  <a:schemeClr val="accent2"/>
                </a:solidFill>
                <a:latin typeface="Arial" panose="020B0604020202020204" pitchFamily="34" charset="0"/>
                <a:ea typeface="Calibri (MS) Bold"/>
                <a:cs typeface="Arial" panose="020B0604020202020204" pitchFamily="34" charset="0"/>
                <a:sym typeface="Calibri (MS) Bold"/>
              </a:rPr>
              <a:t>Resilience Strategies Labs Project:</a:t>
            </a:r>
            <a:r>
              <a:rPr lang="en-US" sz="3200" b="1" noProof="0">
                <a:solidFill>
                  <a:schemeClr val="accent2"/>
                </a:solidFill>
                <a:latin typeface="Arial" panose="020B0604020202020204" pitchFamily="34" charset="0"/>
                <a:ea typeface="Calibri (MS) Bold"/>
                <a:cs typeface="Arial" panose="020B0604020202020204" pitchFamily="34" charset="0"/>
                <a:sym typeface="Calibri (MS) Bold"/>
              </a:rPr>
              <a:t> </a:t>
            </a:r>
          </a:p>
          <a:p>
            <a:pPr algn="ctr">
              <a:spcBef>
                <a:spcPct val="0"/>
              </a:spcBef>
            </a:pPr>
            <a:r>
              <a:rPr lang="en-US" sz="2000" noProof="0">
                <a:solidFill>
                  <a:schemeClr val="accent2"/>
                </a:solidFill>
                <a:latin typeface="Arial" panose="020B0604020202020204" pitchFamily="34" charset="0"/>
                <a:ea typeface="Calibri (MS) Bold"/>
                <a:cs typeface="Arial" panose="020B0604020202020204" pitchFamily="34" charset="0"/>
                <a:sym typeface="Calibri (MS) Bold"/>
              </a:rPr>
              <a:t>Hydrogen Market Opportunities and Data Center Analysis​</a:t>
            </a:r>
          </a:p>
        </p:txBody>
      </p:sp>
      <p:sp>
        <p:nvSpPr>
          <p:cNvPr id="13" name="TextBox 16">
            <a:extLst>
              <a:ext uri="{FF2B5EF4-FFF2-40B4-BE49-F238E27FC236}">
                <a16:creationId xmlns:a16="http://schemas.microsoft.com/office/drawing/2014/main" id="{D3781003-C743-796F-7693-406B607796E7}"/>
              </a:ext>
            </a:extLst>
          </p:cNvPr>
          <p:cNvSpPr txBox="1"/>
          <p:nvPr/>
        </p:nvSpPr>
        <p:spPr>
          <a:xfrm>
            <a:off x="511179" y="3965213"/>
            <a:ext cx="6549083" cy="1384995"/>
          </a:xfrm>
          <a:prstGeom prst="rect">
            <a:avLst/>
          </a:prstGeom>
        </p:spPr>
        <p:txBody>
          <a:bodyPr wrap="square" lIns="0" tIns="0" rIns="0" bIns="0" rtlCol="0" anchor="t">
            <a:spAutoFit/>
          </a:bodyPr>
          <a:lstStyle/>
          <a:p>
            <a:pPr algn="ctr">
              <a:spcBef>
                <a:spcPct val="0"/>
              </a:spcBef>
            </a:pPr>
            <a:r>
              <a:rPr lang="en-US" b="1" noProof="0">
                <a:solidFill>
                  <a:schemeClr val="accent2"/>
                </a:solidFill>
                <a:latin typeface="Arial" panose="020B0604020202020204" pitchFamily="34" charset="0"/>
                <a:ea typeface="Calibri (MS) Bold"/>
                <a:cs typeface="Arial" panose="020B0604020202020204" pitchFamily="34" charset="0"/>
                <a:sym typeface="Calibri (MS) Bold"/>
              </a:rPr>
              <a:t>Author: </a:t>
            </a:r>
            <a:r>
              <a:rPr lang="en-US" noProof="0">
                <a:solidFill>
                  <a:schemeClr val="accent2"/>
                </a:solidFill>
                <a:latin typeface="Arial" panose="020B0604020202020204" pitchFamily="34" charset="0"/>
                <a:ea typeface="Calibri (MS) Bold"/>
                <a:cs typeface="Arial" panose="020B0604020202020204" pitchFamily="34" charset="0"/>
                <a:sym typeface="Calibri (MS) Bold"/>
              </a:rPr>
              <a:t>Priyam Somani, MSBA Class of 2025</a:t>
            </a:r>
          </a:p>
          <a:p>
            <a:pPr algn="ctr">
              <a:spcBef>
                <a:spcPct val="0"/>
              </a:spcBef>
            </a:pPr>
            <a:endParaRPr lang="en-US" noProof="0">
              <a:solidFill>
                <a:schemeClr val="accent2"/>
              </a:solidFill>
              <a:latin typeface="Arial" panose="020B0604020202020204" pitchFamily="34" charset="0"/>
              <a:ea typeface="Calibri (MS) Bold"/>
              <a:cs typeface="Arial" panose="020B0604020202020204" pitchFamily="34" charset="0"/>
              <a:sym typeface="Calibri (MS) Bold"/>
            </a:endParaRPr>
          </a:p>
          <a:p>
            <a:pPr algn="ctr">
              <a:spcBef>
                <a:spcPct val="0"/>
              </a:spcBef>
            </a:pPr>
            <a:r>
              <a:rPr lang="en-US" b="1" noProof="0">
                <a:solidFill>
                  <a:schemeClr val="accent2"/>
                </a:solidFill>
                <a:latin typeface="Arial" panose="020B0604020202020204" pitchFamily="34" charset="0"/>
                <a:ea typeface="Calibri (MS) Bold"/>
                <a:cs typeface="Arial" panose="020B0604020202020204" pitchFamily="34" charset="0"/>
                <a:sym typeface="Calibri (MS) Bold"/>
              </a:rPr>
              <a:t>Affiliations: </a:t>
            </a:r>
            <a:r>
              <a:rPr lang="en-US" b="1">
                <a:solidFill>
                  <a:schemeClr val="accent2"/>
                </a:solidFill>
                <a:latin typeface="Arial" panose="020B0604020202020204" pitchFamily="34" charset="0"/>
                <a:ea typeface="Calibri (MS) Bold"/>
                <a:cs typeface="Arial" panose="020B0604020202020204" pitchFamily="34" charset="0"/>
                <a:sym typeface="Calibri (MS) Bold"/>
              </a:rPr>
              <a:t>Essential Utilities – Peoples Natural Gas</a:t>
            </a:r>
            <a:r>
              <a:rPr lang="en-US" noProof="0">
                <a:solidFill>
                  <a:schemeClr val="accent2"/>
                </a:solidFill>
                <a:latin typeface="Arial" panose="020B0604020202020204" pitchFamily="34" charset="0"/>
                <a:ea typeface="Calibri (MS) Bold"/>
                <a:cs typeface="Arial" panose="020B0604020202020204" pitchFamily="34" charset="0"/>
                <a:sym typeface="Calibri (MS) Bold"/>
              </a:rPr>
              <a:t>, in collaboration with the University of Pittsburgh Center for Sustainable Business</a:t>
            </a:r>
          </a:p>
        </p:txBody>
      </p:sp>
      <p:pic>
        <p:nvPicPr>
          <p:cNvPr id="11" name="Picture 10" descr="A black and white logo&#10;&#10;AI-generated content may be incorrect.">
            <a:extLst>
              <a:ext uri="{FF2B5EF4-FFF2-40B4-BE49-F238E27FC236}">
                <a16:creationId xmlns:a16="http://schemas.microsoft.com/office/drawing/2014/main" id="{7737E315-3AEF-503D-90DC-073F54EE4937}"/>
              </a:ext>
            </a:extLst>
          </p:cNvPr>
          <p:cNvPicPr>
            <a:picLocks noChangeAspect="1"/>
          </p:cNvPicPr>
          <p:nvPr/>
        </p:nvPicPr>
        <p:blipFill>
          <a:blip r:embed="rId4"/>
          <a:stretch>
            <a:fillRect/>
          </a:stretch>
        </p:blipFill>
        <p:spPr>
          <a:xfrm>
            <a:off x="-117869" y="5924877"/>
            <a:ext cx="4487690" cy="1077218"/>
          </a:xfrm>
          <a:prstGeom prst="rect">
            <a:avLst/>
          </a:prstGeom>
        </p:spPr>
      </p:pic>
    </p:spTree>
    <p:extLst>
      <p:ext uri="{BB962C8B-B14F-4D97-AF65-F5344CB8AC3E}">
        <p14:creationId xmlns:p14="http://schemas.microsoft.com/office/powerpoint/2010/main" val="31504676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117FA-DAEE-5219-E744-F735DB56C4C6}"/>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EF55A33-B31A-AFE8-2893-FDED3EFB64A8}"/>
              </a:ext>
            </a:extLst>
          </p:cNvPr>
          <p:cNvSpPr/>
          <p:nvPr/>
        </p:nvSpPr>
        <p:spPr>
          <a:xfrm>
            <a:off x="417661" y="1646078"/>
            <a:ext cx="6777223" cy="269970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noProof="0">
                <a:solidFill>
                  <a:schemeClr val="accent1"/>
                </a:solidFill>
                <a:latin typeface="Arial"/>
                <a:cs typeface="Arial"/>
              </a:rPr>
              <a:t>Approach</a:t>
            </a:r>
          </a:p>
          <a:p>
            <a:r>
              <a:rPr lang="en-US" sz="1200" noProof="0">
                <a:solidFill>
                  <a:schemeClr val="accent1"/>
                </a:solidFill>
                <a:latin typeface="Arial"/>
                <a:cs typeface="Arial"/>
              </a:rPr>
              <a:t>We benchmarked Pittsburgh against top data center markets (e.g., NoVA, Silicon Valley, Dallas) across six critical factors to assess Peoples Gas’s positioning:</a:t>
            </a:r>
          </a:p>
          <a:p>
            <a:pPr marL="171450" indent="-171450">
              <a:buFont typeface="Arial" panose="020B0604020202020204" pitchFamily="34" charset="0"/>
              <a:buChar char="•"/>
            </a:pPr>
            <a:r>
              <a:rPr lang="en-US" sz="1200" b="1" noProof="0">
                <a:solidFill>
                  <a:schemeClr val="accent1"/>
                </a:solidFill>
                <a:latin typeface="Arial"/>
                <a:cs typeface="Arial"/>
              </a:rPr>
              <a:t>Utility Rates</a:t>
            </a:r>
            <a:r>
              <a:rPr lang="en-US" sz="1200" noProof="0">
                <a:solidFill>
                  <a:schemeClr val="accent1"/>
                </a:solidFill>
                <a:latin typeface="Arial"/>
                <a:cs typeface="Arial"/>
              </a:rPr>
              <a:t>: Compared large-load electric and gas tariffs (Dominion, Duquesne, West Penn) to evaluate cost competitiveness.</a:t>
            </a:r>
          </a:p>
          <a:p>
            <a:pPr marL="171450" indent="-171450">
              <a:buFont typeface="Arial" panose="020B0604020202020204" pitchFamily="34" charset="0"/>
              <a:buChar char="•"/>
            </a:pPr>
            <a:r>
              <a:rPr lang="en-US" sz="1200" b="1" noProof="0">
                <a:solidFill>
                  <a:schemeClr val="accent1"/>
                </a:solidFill>
                <a:latin typeface="Arial"/>
                <a:cs typeface="Arial"/>
              </a:rPr>
              <a:t>Fiber Infrastructure</a:t>
            </a:r>
            <a:r>
              <a:rPr lang="en-US" sz="1200" noProof="0">
                <a:solidFill>
                  <a:schemeClr val="accent1"/>
                </a:solidFill>
                <a:latin typeface="Arial"/>
                <a:cs typeface="Arial"/>
              </a:rPr>
              <a:t>: Reviewed fiber density, dark fiber access, and proximity to major carrier hotels.</a:t>
            </a:r>
          </a:p>
          <a:p>
            <a:pPr marL="171450" indent="-171450">
              <a:buFont typeface="Arial" panose="020B0604020202020204" pitchFamily="34" charset="0"/>
              <a:buChar char="•"/>
            </a:pPr>
            <a:r>
              <a:rPr lang="en-US" sz="1200" b="1" noProof="0">
                <a:solidFill>
                  <a:schemeClr val="accent1"/>
                </a:solidFill>
                <a:latin typeface="Arial"/>
                <a:cs typeface="Arial"/>
              </a:rPr>
              <a:t>Real Estate &amp; Incentives</a:t>
            </a:r>
            <a:r>
              <a:rPr lang="en-US" sz="1200" noProof="0">
                <a:solidFill>
                  <a:schemeClr val="accent1"/>
                </a:solidFill>
                <a:latin typeface="Arial"/>
                <a:cs typeface="Arial"/>
              </a:rPr>
              <a:t>: Identified retired coal sites and reviewed tax programs and permitting policies.</a:t>
            </a:r>
          </a:p>
          <a:p>
            <a:pPr marL="171450" indent="-171450">
              <a:buFont typeface="Arial" panose="020B0604020202020204" pitchFamily="34" charset="0"/>
              <a:buChar char="•"/>
            </a:pPr>
            <a:r>
              <a:rPr lang="en-US" sz="1200" b="1" noProof="0">
                <a:solidFill>
                  <a:schemeClr val="accent1"/>
                </a:solidFill>
                <a:latin typeface="Arial"/>
                <a:cs typeface="Arial"/>
              </a:rPr>
              <a:t>Talent Ecosystem</a:t>
            </a:r>
            <a:r>
              <a:rPr lang="en-US" sz="1200" noProof="0">
                <a:solidFill>
                  <a:schemeClr val="accent1"/>
                </a:solidFill>
                <a:latin typeface="Arial"/>
                <a:cs typeface="Arial"/>
              </a:rPr>
              <a:t>: Analyzed local AI, cloud, and engineering talent from CMU, Pitt, and regional startups.</a:t>
            </a:r>
          </a:p>
          <a:p>
            <a:pPr marL="171450" indent="-171450">
              <a:buFont typeface="Arial" panose="020B0604020202020204" pitchFamily="34" charset="0"/>
              <a:buChar char="•"/>
            </a:pPr>
            <a:r>
              <a:rPr lang="en-US" sz="1200" b="1" noProof="0">
                <a:solidFill>
                  <a:schemeClr val="accent1"/>
                </a:solidFill>
                <a:latin typeface="Arial"/>
                <a:cs typeface="Arial"/>
              </a:rPr>
              <a:t>Gas-Based Power Potential</a:t>
            </a:r>
            <a:r>
              <a:rPr lang="en-US" sz="1200" noProof="0">
                <a:solidFill>
                  <a:schemeClr val="accent1"/>
                </a:solidFill>
                <a:latin typeface="Arial"/>
                <a:cs typeface="Arial"/>
              </a:rPr>
              <a:t>: Mapped sites for on-site co-gen leveraging Peoples Gas distribution (e.g., Bruce Mansfield, </a:t>
            </a:r>
            <a:r>
              <a:rPr lang="en-US" sz="1200" noProof="0" err="1">
                <a:solidFill>
                  <a:schemeClr val="accent1"/>
                </a:solidFill>
                <a:latin typeface="Arial"/>
                <a:cs typeface="Arial"/>
              </a:rPr>
              <a:t>Elrama</a:t>
            </a:r>
            <a:r>
              <a:rPr lang="en-US" sz="1200" noProof="0">
                <a:solidFill>
                  <a:schemeClr val="accent1"/>
                </a:solidFill>
                <a:latin typeface="Arial"/>
                <a:cs typeface="Arial"/>
              </a:rPr>
              <a:t>).</a:t>
            </a:r>
          </a:p>
        </p:txBody>
      </p:sp>
      <p:sp>
        <p:nvSpPr>
          <p:cNvPr id="11" name="Rectangle 10">
            <a:extLst>
              <a:ext uri="{FF2B5EF4-FFF2-40B4-BE49-F238E27FC236}">
                <a16:creationId xmlns:a16="http://schemas.microsoft.com/office/drawing/2014/main" id="{95AC4FFC-3B8F-A5EF-D76B-8D3B234BB39A}"/>
              </a:ext>
            </a:extLst>
          </p:cNvPr>
          <p:cNvSpPr/>
          <p:nvPr/>
        </p:nvSpPr>
        <p:spPr>
          <a:xfrm>
            <a:off x="7927008" y="1646077"/>
            <a:ext cx="4056637" cy="269970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noProof="0">
                <a:solidFill>
                  <a:schemeClr val="accent1"/>
                </a:solidFill>
                <a:latin typeface="Arial"/>
                <a:cs typeface="Arial"/>
              </a:rPr>
              <a:t>Key Findings</a:t>
            </a:r>
          </a:p>
          <a:p>
            <a:pPr marL="171450" indent="-171450">
              <a:buFont typeface="Arial" panose="020B0604020202020204" pitchFamily="34" charset="0"/>
              <a:buChar char="•"/>
            </a:pPr>
            <a:r>
              <a:rPr lang="en-US" sz="1100" b="1">
                <a:solidFill>
                  <a:schemeClr val="accent1"/>
                </a:solidFill>
                <a:latin typeface="Arial"/>
                <a:cs typeface="Arial"/>
              </a:rPr>
              <a:t>Lead Time to Procure Data Center Power</a:t>
            </a:r>
            <a:r>
              <a:rPr lang="en-US" sz="1100" noProof="0">
                <a:solidFill>
                  <a:schemeClr val="accent1"/>
                </a:solidFill>
                <a:latin typeface="Arial"/>
                <a:cs typeface="Arial"/>
              </a:rPr>
              <a:t>: Pittsburgh offers one of the shortest lead times in the U.S. at just 36 months</a:t>
            </a:r>
            <a:r>
              <a:rPr lang="en-US" sz="1100">
                <a:solidFill>
                  <a:schemeClr val="accent1"/>
                </a:solidFill>
                <a:latin typeface="Arial"/>
                <a:cs typeface="Arial"/>
              </a:rPr>
              <a:t>. (per reference A)</a:t>
            </a:r>
            <a:endParaRPr lang="en-US" sz="1100" noProof="0">
              <a:solidFill>
                <a:schemeClr val="accent1"/>
              </a:solidFill>
              <a:latin typeface="Arial"/>
              <a:cs typeface="Arial"/>
            </a:endParaRPr>
          </a:p>
          <a:p>
            <a:pPr marL="171450" indent="-171450">
              <a:buFont typeface="Arial" panose="020B0604020202020204" pitchFamily="34" charset="0"/>
              <a:buChar char="•"/>
            </a:pPr>
            <a:r>
              <a:rPr lang="en-US" sz="1100" b="1" noProof="0">
                <a:solidFill>
                  <a:schemeClr val="accent1"/>
                </a:solidFill>
                <a:latin typeface="Arial"/>
                <a:cs typeface="Arial"/>
              </a:rPr>
              <a:t>Cost Advantage</a:t>
            </a:r>
            <a:r>
              <a:rPr lang="en-US" sz="1100" noProof="0">
                <a:solidFill>
                  <a:schemeClr val="accent1"/>
                </a:solidFill>
                <a:latin typeface="Arial"/>
                <a:cs typeface="Arial"/>
              </a:rPr>
              <a:t>: Behind-the-meter gas enables ~$65.08/MWh, beating Dominion ($92.89) and competitive with West Penn.</a:t>
            </a:r>
          </a:p>
          <a:p>
            <a:pPr marL="171450" indent="-171450">
              <a:buFont typeface="Arial" panose="020B0604020202020204" pitchFamily="34" charset="0"/>
              <a:buChar char="•"/>
            </a:pPr>
            <a:r>
              <a:rPr lang="en-US" sz="1100" b="1">
                <a:solidFill>
                  <a:schemeClr val="accent1"/>
                </a:solidFill>
                <a:latin typeface="Arial"/>
                <a:cs typeface="Arial"/>
              </a:rPr>
              <a:t>Fiber Connectivity Clusters in PA: </a:t>
            </a:r>
            <a:r>
              <a:rPr lang="en-US" sz="1100">
                <a:solidFill>
                  <a:schemeClr val="accent1"/>
                </a:solidFill>
                <a:latin typeface="Arial"/>
                <a:cs typeface="Arial"/>
              </a:rPr>
              <a:t>Pittsburgh and Philadelphia have dense, multi-provider fiber networks, while areas like Harrisburg show moderate coverage and less redundancy.</a:t>
            </a:r>
          </a:p>
          <a:p>
            <a:pPr marL="171450" indent="-171450">
              <a:buFont typeface="Arial" panose="020B0604020202020204" pitchFamily="34" charset="0"/>
              <a:buChar char="•"/>
            </a:pPr>
            <a:r>
              <a:rPr lang="en-US" sz="1100" b="1">
                <a:solidFill>
                  <a:schemeClr val="accent1"/>
                </a:solidFill>
                <a:latin typeface="Arial"/>
                <a:cs typeface="Arial"/>
              </a:rPr>
              <a:t>Energy Security</a:t>
            </a:r>
            <a:r>
              <a:rPr lang="en-US" sz="1100" noProof="0">
                <a:solidFill>
                  <a:schemeClr val="accent1"/>
                </a:solidFill>
                <a:latin typeface="Arial"/>
                <a:cs typeface="Arial"/>
              </a:rPr>
              <a:t>: PA is the #2 gas producer; 53% of electricity is gas-powered—ideal for reliable co-gen.</a:t>
            </a:r>
          </a:p>
          <a:p>
            <a:pPr marL="171450" indent="-171450">
              <a:buFont typeface="Arial" panose="020B0604020202020204" pitchFamily="34" charset="0"/>
              <a:buChar char="•"/>
            </a:pPr>
            <a:r>
              <a:rPr lang="en-US" sz="1100" b="1" noProof="0">
                <a:solidFill>
                  <a:schemeClr val="accent1"/>
                </a:solidFill>
                <a:latin typeface="Arial"/>
                <a:cs typeface="Arial"/>
              </a:rPr>
              <a:t>Redevelopment Potential</a:t>
            </a:r>
            <a:r>
              <a:rPr lang="en-US" sz="1100" noProof="0">
                <a:solidFill>
                  <a:schemeClr val="accent1"/>
                </a:solidFill>
                <a:latin typeface="Arial"/>
                <a:cs typeface="Arial"/>
              </a:rPr>
              <a:t>: Legacy sites (e.g., Homer City) offer turnkey 345kV infrastructure for data center conversion.</a:t>
            </a:r>
          </a:p>
        </p:txBody>
      </p:sp>
      <p:sp>
        <p:nvSpPr>
          <p:cNvPr id="12" name="Isosceles Triangle 11">
            <a:extLst>
              <a:ext uri="{FF2B5EF4-FFF2-40B4-BE49-F238E27FC236}">
                <a16:creationId xmlns:a16="http://schemas.microsoft.com/office/drawing/2014/main" id="{B6E78070-2203-8082-3ACF-3D583328D4E8}"/>
              </a:ext>
            </a:extLst>
          </p:cNvPr>
          <p:cNvSpPr/>
          <p:nvPr/>
        </p:nvSpPr>
        <p:spPr>
          <a:xfrm rot="5400000">
            <a:off x="6211093" y="2728944"/>
            <a:ext cx="2699706" cy="533974"/>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Isosceles Triangle 12">
            <a:extLst>
              <a:ext uri="{FF2B5EF4-FFF2-40B4-BE49-F238E27FC236}">
                <a16:creationId xmlns:a16="http://schemas.microsoft.com/office/drawing/2014/main" id="{4EFE1344-360C-121E-B769-FA53B530F145}"/>
              </a:ext>
            </a:extLst>
          </p:cNvPr>
          <p:cNvSpPr/>
          <p:nvPr/>
        </p:nvSpPr>
        <p:spPr>
          <a:xfrm rot="10800000">
            <a:off x="415352" y="4413182"/>
            <a:ext cx="11566958" cy="369422"/>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322F519B-9699-F864-6A09-F23F59D347F0}"/>
              </a:ext>
            </a:extLst>
          </p:cNvPr>
          <p:cNvSpPr/>
          <p:nvPr/>
        </p:nvSpPr>
        <p:spPr>
          <a:xfrm>
            <a:off x="416688" y="752946"/>
            <a:ext cx="11565622" cy="756852"/>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Problem Statement</a:t>
            </a:r>
          </a:p>
          <a:p>
            <a:pPr algn="ctr"/>
            <a:r>
              <a:rPr lang="en-US" sz="1200" noProof="0">
                <a:solidFill>
                  <a:schemeClr val="accent1"/>
                </a:solidFill>
                <a:latin typeface="Arial" panose="020B0604020202020204" pitchFamily="34" charset="0"/>
                <a:cs typeface="Arial" panose="020B0604020202020204" pitchFamily="34" charset="0"/>
              </a:rPr>
              <a:t>How can Peoples Natural Gas position itself as a preferred energy provider for hyperscale data centers in a rapidly evolving energy and digital infrastructure landscape—while competing with established electric utilities, and leveraging its abundant natural gas resources and infrastructure footprint in Western Pennsylvania?</a:t>
            </a:r>
          </a:p>
        </p:txBody>
      </p:sp>
      <p:sp>
        <p:nvSpPr>
          <p:cNvPr id="15" name="Rectangle 14">
            <a:extLst>
              <a:ext uri="{FF2B5EF4-FFF2-40B4-BE49-F238E27FC236}">
                <a16:creationId xmlns:a16="http://schemas.microsoft.com/office/drawing/2014/main" id="{8A4A9DBE-7976-570C-0279-C278DC0BC77E}"/>
              </a:ext>
            </a:extLst>
          </p:cNvPr>
          <p:cNvSpPr/>
          <p:nvPr/>
        </p:nvSpPr>
        <p:spPr>
          <a:xfrm>
            <a:off x="415353" y="4870761"/>
            <a:ext cx="11565622" cy="1872517"/>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b="1" noProof="0">
                <a:solidFill>
                  <a:schemeClr val="accent1"/>
                </a:solidFill>
                <a:latin typeface="Arial" panose="020B0604020202020204" pitchFamily="34" charset="0"/>
                <a:cs typeface="Arial" panose="020B0604020202020204" pitchFamily="34" charset="0"/>
              </a:rPr>
              <a:t>Strategic Recommendations</a:t>
            </a:r>
          </a:p>
        </p:txBody>
      </p:sp>
      <p:sp>
        <p:nvSpPr>
          <p:cNvPr id="16" name="Rectangle 15">
            <a:extLst>
              <a:ext uri="{FF2B5EF4-FFF2-40B4-BE49-F238E27FC236}">
                <a16:creationId xmlns:a16="http://schemas.microsoft.com/office/drawing/2014/main" id="{F681D7D2-BF03-BE01-A05B-CDBE2023D694}"/>
              </a:ext>
            </a:extLst>
          </p:cNvPr>
          <p:cNvSpPr/>
          <p:nvPr/>
        </p:nvSpPr>
        <p:spPr>
          <a:xfrm>
            <a:off x="621469" y="5152041"/>
            <a:ext cx="2560320" cy="8959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000" b="1" noProof="0">
                <a:solidFill>
                  <a:schemeClr val="accent1"/>
                </a:solidFill>
                <a:latin typeface="Arial" panose="020B0604020202020204" pitchFamily="34" charset="0"/>
                <a:cs typeface="Arial" panose="020B0604020202020204" pitchFamily="34" charset="0"/>
              </a:rPr>
              <a:t>Develop a Playbook</a:t>
            </a:r>
          </a:p>
          <a:p>
            <a:pPr algn="ctr"/>
            <a:r>
              <a:rPr lang="en-US" sz="1000" noProof="0">
                <a:solidFill>
                  <a:schemeClr val="accent1"/>
                </a:solidFill>
                <a:latin typeface="Arial" panose="020B0604020202020204" pitchFamily="34" charset="0"/>
                <a:cs typeface="Arial" panose="020B0604020202020204" pitchFamily="34" charset="0"/>
              </a:rPr>
              <a:t>Package Peoples’ strengths into a “Pittsburgh Hyperscale Toolkit” with co-gen options, rate comparisons, and site maps.</a:t>
            </a:r>
          </a:p>
        </p:txBody>
      </p:sp>
      <p:sp>
        <p:nvSpPr>
          <p:cNvPr id="17" name="Rectangle 16">
            <a:extLst>
              <a:ext uri="{FF2B5EF4-FFF2-40B4-BE49-F238E27FC236}">
                <a16:creationId xmlns:a16="http://schemas.microsoft.com/office/drawing/2014/main" id="{C6205509-FA8E-4B0F-1F01-F85E1775C949}"/>
              </a:ext>
            </a:extLst>
          </p:cNvPr>
          <p:cNvSpPr/>
          <p:nvPr/>
        </p:nvSpPr>
        <p:spPr>
          <a:xfrm>
            <a:off x="3478072" y="5135339"/>
            <a:ext cx="2560320" cy="9126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000" b="1" noProof="0">
                <a:solidFill>
                  <a:schemeClr val="accent1"/>
                </a:solidFill>
                <a:latin typeface="Arial" panose="020B0604020202020204" pitchFamily="34" charset="0"/>
                <a:cs typeface="Arial" panose="020B0604020202020204" pitchFamily="34" charset="0"/>
              </a:rPr>
              <a:t>Repurpose Legacy </a:t>
            </a:r>
            <a:br>
              <a:rPr lang="en-US" sz="1000" b="1" noProof="0">
                <a:solidFill>
                  <a:schemeClr val="accent1"/>
                </a:solidFill>
                <a:latin typeface="Arial" panose="020B0604020202020204" pitchFamily="34" charset="0"/>
                <a:cs typeface="Arial" panose="020B0604020202020204" pitchFamily="34" charset="0"/>
              </a:rPr>
            </a:br>
            <a:r>
              <a:rPr lang="en-US" sz="1000" b="1" noProof="0">
                <a:solidFill>
                  <a:schemeClr val="accent1"/>
                </a:solidFill>
                <a:latin typeface="Arial" panose="020B0604020202020204" pitchFamily="34" charset="0"/>
                <a:cs typeface="Arial" panose="020B0604020202020204" pitchFamily="34" charset="0"/>
              </a:rPr>
              <a:t>Coal Plant Sites</a:t>
            </a:r>
          </a:p>
          <a:p>
            <a:pPr algn="ctr"/>
            <a:r>
              <a:rPr lang="en-US" sz="1000" noProof="0">
                <a:solidFill>
                  <a:schemeClr val="accent1"/>
                </a:solidFill>
                <a:latin typeface="Arial" panose="020B0604020202020204" pitchFamily="34" charset="0"/>
                <a:cs typeface="Arial" panose="020B0604020202020204" pitchFamily="34" charset="0"/>
              </a:rPr>
              <a:t>Focus on sites for data center redevelopment with grid tie-ins and gas supply.</a:t>
            </a:r>
          </a:p>
        </p:txBody>
      </p:sp>
      <p:sp>
        <p:nvSpPr>
          <p:cNvPr id="21" name="Text Placeholder 1">
            <a:extLst>
              <a:ext uri="{FF2B5EF4-FFF2-40B4-BE49-F238E27FC236}">
                <a16:creationId xmlns:a16="http://schemas.microsoft.com/office/drawing/2014/main" id="{B5469D3F-392C-B264-D37D-B4EC9BA932E7}"/>
              </a:ext>
            </a:extLst>
          </p:cNvPr>
          <p:cNvSpPr txBox="1">
            <a:spLocks/>
          </p:cNvSpPr>
          <p:nvPr/>
        </p:nvSpPr>
        <p:spPr>
          <a:xfrm>
            <a:off x="480878" y="193027"/>
            <a:ext cx="5644308"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Executive Summary</a:t>
            </a:r>
          </a:p>
        </p:txBody>
      </p:sp>
      <p:sp>
        <p:nvSpPr>
          <p:cNvPr id="23" name="Rectangle 22">
            <a:extLst>
              <a:ext uri="{FF2B5EF4-FFF2-40B4-BE49-F238E27FC236}">
                <a16:creationId xmlns:a16="http://schemas.microsoft.com/office/drawing/2014/main" id="{B1B1FA06-EF70-4CE8-5476-870333F9FC85}"/>
              </a:ext>
            </a:extLst>
          </p:cNvPr>
          <p:cNvSpPr/>
          <p:nvPr/>
        </p:nvSpPr>
        <p:spPr>
          <a:xfrm>
            <a:off x="9191278" y="5129315"/>
            <a:ext cx="2560320" cy="9126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000" b="1" noProof="0">
                <a:solidFill>
                  <a:schemeClr val="accent1"/>
                </a:solidFill>
                <a:latin typeface="Arial" panose="020B0604020202020204" pitchFamily="34" charset="0"/>
                <a:cs typeface="Arial" panose="020B0604020202020204" pitchFamily="34" charset="0"/>
              </a:rPr>
              <a:t>Leverage Pittsburgh’s Talent &amp; Innovation Ecosystem</a:t>
            </a:r>
          </a:p>
          <a:p>
            <a:pPr algn="ctr"/>
            <a:r>
              <a:rPr lang="en-US" sz="1000" noProof="0">
                <a:solidFill>
                  <a:schemeClr val="accent1"/>
                </a:solidFill>
                <a:latin typeface="Arial" panose="020B0604020202020204" pitchFamily="34" charset="0"/>
                <a:cs typeface="Arial" panose="020B0604020202020204" pitchFamily="34" charset="0"/>
              </a:rPr>
              <a:t>Highlight CMU/Pitt pipeline and local AI/cloud strengths in partnership proposals.</a:t>
            </a:r>
          </a:p>
        </p:txBody>
      </p:sp>
      <p:sp>
        <p:nvSpPr>
          <p:cNvPr id="24" name="Rectangle 23">
            <a:extLst>
              <a:ext uri="{FF2B5EF4-FFF2-40B4-BE49-F238E27FC236}">
                <a16:creationId xmlns:a16="http://schemas.microsoft.com/office/drawing/2014/main" id="{BFD6CD04-45AA-E1A6-38EC-EC6184E4CF31}"/>
              </a:ext>
            </a:extLst>
          </p:cNvPr>
          <p:cNvSpPr/>
          <p:nvPr/>
        </p:nvSpPr>
        <p:spPr>
          <a:xfrm>
            <a:off x="6334675" y="5135339"/>
            <a:ext cx="2560320" cy="9126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000" b="1" noProof="0">
                <a:solidFill>
                  <a:schemeClr val="accent1"/>
                </a:solidFill>
                <a:latin typeface="Arial" panose="020B0604020202020204" pitchFamily="34" charset="0"/>
                <a:cs typeface="Arial" panose="020B0604020202020204" pitchFamily="34" charset="0"/>
              </a:rPr>
              <a:t>Advocate for Data Center Incentives</a:t>
            </a:r>
          </a:p>
          <a:p>
            <a:pPr algn="ctr"/>
            <a:r>
              <a:rPr lang="en-US" sz="1000" noProof="0">
                <a:solidFill>
                  <a:schemeClr val="accent1"/>
                </a:solidFill>
                <a:latin typeface="Arial" panose="020B0604020202020204" pitchFamily="34" charset="0"/>
                <a:cs typeface="Arial" panose="020B0604020202020204" pitchFamily="34" charset="0"/>
              </a:rPr>
              <a:t>Collaborate with public agencies to secure tax exemptions, credits, and permitting acceleration.</a:t>
            </a:r>
          </a:p>
        </p:txBody>
      </p:sp>
      <p:sp>
        <p:nvSpPr>
          <p:cNvPr id="29" name="Rectangle 28">
            <a:extLst>
              <a:ext uri="{FF2B5EF4-FFF2-40B4-BE49-F238E27FC236}">
                <a16:creationId xmlns:a16="http://schemas.microsoft.com/office/drawing/2014/main" id="{1EB83A24-16B8-77FA-297B-92DF30DBDCA4}"/>
              </a:ext>
            </a:extLst>
          </p:cNvPr>
          <p:cNvSpPr/>
          <p:nvPr/>
        </p:nvSpPr>
        <p:spPr>
          <a:xfrm>
            <a:off x="621469" y="6116333"/>
            <a:ext cx="2560320" cy="548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a:solidFill>
                  <a:schemeClr val="accent1"/>
                </a:solidFill>
                <a:latin typeface="Arial" panose="020B0604020202020204" pitchFamily="34" charset="0"/>
                <a:cs typeface="Arial" panose="020B0604020202020204" pitchFamily="34" charset="0"/>
              </a:rPr>
              <a:t>Builds a competitive identity to rival </a:t>
            </a:r>
            <a:r>
              <a:rPr lang="en-US" sz="1000" noProof="0" err="1">
                <a:solidFill>
                  <a:schemeClr val="accent1"/>
                </a:solidFill>
                <a:latin typeface="Arial" panose="020B0604020202020204" pitchFamily="34" charset="0"/>
                <a:cs typeface="Arial" panose="020B0604020202020204" pitchFamily="34" charset="0"/>
              </a:rPr>
              <a:t>NoVA</a:t>
            </a:r>
            <a:r>
              <a:rPr lang="en-US" sz="1000" noProof="0">
                <a:solidFill>
                  <a:schemeClr val="accent1"/>
                </a:solidFill>
                <a:latin typeface="Arial" panose="020B0604020202020204" pitchFamily="34" charset="0"/>
                <a:cs typeface="Arial" panose="020B0604020202020204" pitchFamily="34" charset="0"/>
              </a:rPr>
              <a:t>, Columbus, and Dallas.</a:t>
            </a:r>
          </a:p>
        </p:txBody>
      </p:sp>
      <p:sp>
        <p:nvSpPr>
          <p:cNvPr id="31" name="Rectangle 30">
            <a:extLst>
              <a:ext uri="{FF2B5EF4-FFF2-40B4-BE49-F238E27FC236}">
                <a16:creationId xmlns:a16="http://schemas.microsoft.com/office/drawing/2014/main" id="{B5E9C985-37A8-D042-772B-CD0D1D709203}"/>
              </a:ext>
            </a:extLst>
          </p:cNvPr>
          <p:cNvSpPr/>
          <p:nvPr/>
        </p:nvSpPr>
        <p:spPr>
          <a:xfrm>
            <a:off x="3473233" y="6121323"/>
            <a:ext cx="2560320" cy="548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a:solidFill>
                  <a:schemeClr val="accent1"/>
                </a:solidFill>
                <a:latin typeface="Arial" panose="020B0604020202020204" pitchFamily="34" charset="0"/>
                <a:cs typeface="Arial" panose="020B0604020202020204" pitchFamily="34" charset="0"/>
              </a:rPr>
              <a:t>Delivers turnkey sites with integrated land, power, and infrastructure.</a:t>
            </a:r>
          </a:p>
        </p:txBody>
      </p:sp>
      <p:sp>
        <p:nvSpPr>
          <p:cNvPr id="33" name="Rectangle 32">
            <a:extLst>
              <a:ext uri="{FF2B5EF4-FFF2-40B4-BE49-F238E27FC236}">
                <a16:creationId xmlns:a16="http://schemas.microsoft.com/office/drawing/2014/main" id="{D6DC688D-F1E2-F779-E43F-6C08EB1CD750}"/>
              </a:ext>
            </a:extLst>
          </p:cNvPr>
          <p:cNvSpPr/>
          <p:nvPr/>
        </p:nvSpPr>
        <p:spPr>
          <a:xfrm>
            <a:off x="6334675" y="6136165"/>
            <a:ext cx="2560320" cy="548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a:solidFill>
                  <a:schemeClr val="accent1"/>
                </a:solidFill>
                <a:latin typeface="Arial" panose="020B0604020202020204" pitchFamily="34" charset="0"/>
                <a:cs typeface="Arial" panose="020B0604020202020204" pitchFamily="34" charset="0"/>
              </a:rPr>
              <a:t>Enhances affordability and market competitiveness.</a:t>
            </a:r>
          </a:p>
        </p:txBody>
      </p:sp>
      <p:sp>
        <p:nvSpPr>
          <p:cNvPr id="34" name="Rectangle 33">
            <a:extLst>
              <a:ext uri="{FF2B5EF4-FFF2-40B4-BE49-F238E27FC236}">
                <a16:creationId xmlns:a16="http://schemas.microsoft.com/office/drawing/2014/main" id="{ED19B075-9371-1007-0195-5DDF4F85114B}"/>
              </a:ext>
            </a:extLst>
          </p:cNvPr>
          <p:cNvSpPr/>
          <p:nvPr/>
        </p:nvSpPr>
        <p:spPr>
          <a:xfrm>
            <a:off x="9191278" y="6136165"/>
            <a:ext cx="2560320" cy="5486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noProof="0">
                <a:solidFill>
                  <a:schemeClr val="accent1"/>
                </a:solidFill>
                <a:latin typeface="Arial" panose="020B0604020202020204" pitchFamily="34" charset="0"/>
                <a:cs typeface="Arial" panose="020B0604020202020204" pitchFamily="34" charset="0"/>
              </a:rPr>
              <a:t>Boosts data center value </a:t>
            </a:r>
            <a:br>
              <a:rPr lang="en-US" sz="1000" noProof="0">
                <a:solidFill>
                  <a:schemeClr val="accent1"/>
                </a:solidFill>
                <a:latin typeface="Arial" panose="020B0604020202020204" pitchFamily="34" charset="0"/>
                <a:cs typeface="Arial" panose="020B0604020202020204" pitchFamily="34" charset="0"/>
              </a:rPr>
            </a:br>
            <a:r>
              <a:rPr lang="en-US" sz="1000" noProof="0">
                <a:solidFill>
                  <a:schemeClr val="accent1"/>
                </a:solidFill>
                <a:latin typeface="Arial" panose="020B0604020202020204" pitchFamily="34" charset="0"/>
                <a:cs typeface="Arial" panose="020B0604020202020204" pitchFamily="34" charset="0"/>
              </a:rPr>
              <a:t>and reinforces Pittsburgh’s tech brand.</a:t>
            </a:r>
          </a:p>
        </p:txBody>
      </p:sp>
    </p:spTree>
    <p:extLst>
      <p:ext uri="{BB962C8B-B14F-4D97-AF65-F5344CB8AC3E}">
        <p14:creationId xmlns:p14="http://schemas.microsoft.com/office/powerpoint/2010/main" val="1869322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5" grpId="0" animBg="1"/>
      <p:bldP spid="16" grpId="0" animBg="1"/>
      <p:bldP spid="17" grpId="0" animBg="1"/>
      <p:bldP spid="23" grpId="0" animBg="1"/>
      <p:bldP spid="24" grpId="0" animBg="1"/>
      <p:bldP spid="29" grpId="0" animBg="1"/>
      <p:bldP spid="31" grpId="0" animBg="1"/>
      <p:bldP spid="33" grpId="0" animBg="1"/>
      <p:bldP spid="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4C2ED8C-E4B0-42D1-1E48-10F2983B0581}"/>
              </a:ext>
            </a:extLst>
          </p:cNvPr>
          <p:cNvSpPr/>
          <p:nvPr/>
        </p:nvSpPr>
        <p:spPr>
          <a:xfrm>
            <a:off x="449179" y="1661018"/>
            <a:ext cx="6505073" cy="391927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200" noProof="0">
              <a:solidFill>
                <a:schemeClr val="accent1"/>
              </a:solidFill>
              <a:latin typeface="Arial"/>
              <a:cs typeface="Arial"/>
            </a:endParaRPr>
          </a:p>
        </p:txBody>
      </p:sp>
      <p:pic>
        <p:nvPicPr>
          <p:cNvPr id="7" name="Content Placeholder 4" descr="A map of the state of virginia&#10;&#10;Description automatically generated">
            <a:extLst>
              <a:ext uri="{FF2B5EF4-FFF2-40B4-BE49-F238E27FC236}">
                <a16:creationId xmlns:a16="http://schemas.microsoft.com/office/drawing/2014/main" id="{F1975F9E-D640-FD6F-D62E-C9AF110793BC}"/>
              </a:ext>
            </a:extLst>
          </p:cNvPr>
          <p:cNvPicPr>
            <a:picLocks noChangeAspect="1"/>
          </p:cNvPicPr>
          <p:nvPr/>
        </p:nvPicPr>
        <p:blipFill>
          <a:blip r:embed="rId2">
            <a:extLst>
              <a:ext uri="{28A0092B-C50C-407E-A947-70E740481C1C}">
                <a14:useLocalDpi xmlns:a14="http://schemas.microsoft.com/office/drawing/2010/main" val="0"/>
              </a:ext>
            </a:extLst>
          </a:blip>
          <a:srcRect t="12845" b="204"/>
          <a:stretch/>
        </p:blipFill>
        <p:spPr>
          <a:xfrm>
            <a:off x="670849" y="1815025"/>
            <a:ext cx="6072685" cy="3611258"/>
          </a:xfrm>
          <a:prstGeom prst="rect">
            <a:avLst/>
          </a:prstGeom>
          <a:ln>
            <a:noFill/>
          </a:ln>
        </p:spPr>
      </p:pic>
      <p:sp>
        <p:nvSpPr>
          <p:cNvPr id="3" name="TextBox 2">
            <a:extLst>
              <a:ext uri="{FF2B5EF4-FFF2-40B4-BE49-F238E27FC236}">
                <a16:creationId xmlns:a16="http://schemas.microsoft.com/office/drawing/2014/main" id="{9381B3BA-E0A5-457F-93F2-309E3BFD923A}"/>
              </a:ext>
            </a:extLst>
          </p:cNvPr>
          <p:cNvSpPr txBox="1"/>
          <p:nvPr/>
        </p:nvSpPr>
        <p:spPr>
          <a:xfrm>
            <a:off x="670849" y="5350655"/>
            <a:ext cx="387479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i="1" noProof="0">
                <a:latin typeface="Arial" panose="020B0604020202020204" pitchFamily="34" charset="0"/>
                <a:ea typeface="+mn-lt"/>
                <a:cs typeface="Arial" panose="020B0604020202020204" pitchFamily="34" charset="0"/>
                <a:hlinkClick r:id="rId3"/>
              </a:rPr>
              <a:t>Reference Link: Virginia Data Centers Locations</a:t>
            </a:r>
            <a:r>
              <a:rPr lang="en-US" sz="1050" i="1" noProof="0">
                <a:latin typeface="Arial" panose="020B0604020202020204" pitchFamily="34" charset="0"/>
                <a:ea typeface="+mn-lt"/>
                <a:cs typeface="Arial" panose="020B0604020202020204" pitchFamily="34" charset="0"/>
              </a:rPr>
              <a:t> </a:t>
            </a:r>
            <a:endParaRPr lang="en-US" sz="1050" i="1" noProof="0">
              <a:latin typeface="Arial" panose="020B0604020202020204" pitchFamily="34" charset="0"/>
              <a:cs typeface="Arial" panose="020B0604020202020204" pitchFamily="34" charset="0"/>
            </a:endParaRPr>
          </a:p>
        </p:txBody>
      </p:sp>
      <p:sp>
        <p:nvSpPr>
          <p:cNvPr id="8" name="Slide Number Placeholder 23">
            <a:extLst>
              <a:ext uri="{FF2B5EF4-FFF2-40B4-BE49-F238E27FC236}">
                <a16:creationId xmlns:a16="http://schemas.microsoft.com/office/drawing/2014/main" id="{B334697F-2FF7-EA90-D4CB-E8BDB567C388}"/>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1</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74B6B0E8-11AD-E2B2-524B-42051C4D66A3}"/>
              </a:ext>
            </a:extLst>
          </p:cNvPr>
          <p:cNvGraphicFramePr/>
          <p:nvPr>
            <p:extLst>
              <p:ext uri="{D42A27DB-BD31-4B8C-83A1-F6EECF244321}">
                <p14:modId xmlns:p14="http://schemas.microsoft.com/office/powerpoint/2010/main" val="3016515397"/>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 Placeholder 1">
            <a:extLst>
              <a:ext uri="{FF2B5EF4-FFF2-40B4-BE49-F238E27FC236}">
                <a16:creationId xmlns:a16="http://schemas.microsoft.com/office/drawing/2014/main" id="{50080309-6620-64C3-EB7F-FC0765F360FA}"/>
              </a:ext>
            </a:extLst>
          </p:cNvPr>
          <p:cNvSpPr txBox="1">
            <a:spLocks/>
          </p:cNvSpPr>
          <p:nvPr/>
        </p:nvSpPr>
        <p:spPr>
          <a:xfrm>
            <a:off x="480877" y="193027"/>
            <a:ext cx="11045375"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Data Center Market Research: Why Virginia?</a:t>
            </a:r>
          </a:p>
        </p:txBody>
      </p:sp>
      <p:sp>
        <p:nvSpPr>
          <p:cNvPr id="5" name="Rectangle 4">
            <a:extLst>
              <a:ext uri="{FF2B5EF4-FFF2-40B4-BE49-F238E27FC236}">
                <a16:creationId xmlns:a16="http://schemas.microsoft.com/office/drawing/2014/main" id="{D266E271-4E5D-DA14-1122-4993620E4989}"/>
              </a:ext>
            </a:extLst>
          </p:cNvPr>
          <p:cNvSpPr/>
          <p:nvPr/>
        </p:nvSpPr>
        <p:spPr>
          <a:xfrm>
            <a:off x="449179" y="881652"/>
            <a:ext cx="11293641" cy="655091"/>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solidFill>
                <a:latin typeface="Arial" panose="020B0604020202020204" pitchFamily="34" charset="0"/>
                <a:cs typeface="Arial" panose="020B0604020202020204" pitchFamily="34" charset="0"/>
              </a:rPr>
              <a:t>Global Leader with Strategic Concentration: </a:t>
            </a:r>
          </a:p>
          <a:p>
            <a:pPr marL="625475" algn="ctr"/>
            <a:r>
              <a:rPr lang="en-US" sz="1200">
                <a:solidFill>
                  <a:schemeClr val="accent1"/>
                </a:solidFill>
                <a:latin typeface="Arial" panose="020B0604020202020204" pitchFamily="34" charset="0"/>
                <a:cs typeface="Arial" panose="020B0604020202020204" pitchFamily="34" charset="0"/>
              </a:rPr>
              <a:t>Virginia hosts 150+ hyperscale data centers, accounting for over 35% of global market share, anchored in Loudoun County’s “Data Center Alley”, which handles ~70% of the world’s internet traffic.</a:t>
            </a:r>
          </a:p>
        </p:txBody>
      </p:sp>
      <p:sp>
        <p:nvSpPr>
          <p:cNvPr id="6" name="Rectangle 5">
            <a:extLst>
              <a:ext uri="{FF2B5EF4-FFF2-40B4-BE49-F238E27FC236}">
                <a16:creationId xmlns:a16="http://schemas.microsoft.com/office/drawing/2014/main" id="{5CC1CF29-8B31-DCC2-EAD2-18CD4DEE128F}"/>
              </a:ext>
            </a:extLst>
          </p:cNvPr>
          <p:cNvSpPr/>
          <p:nvPr/>
        </p:nvSpPr>
        <p:spPr>
          <a:xfrm>
            <a:off x="7084853" y="1661018"/>
            <a:ext cx="4657967" cy="1188720"/>
          </a:xfrm>
          <a:prstGeom prst="rect">
            <a:avLst/>
          </a:prstGeom>
          <a:solidFill>
            <a:srgbClr val="FFDF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5475" algn="ctr"/>
            <a:r>
              <a:rPr lang="en-US" sz="1200" b="1">
                <a:solidFill>
                  <a:schemeClr val="accent1"/>
                </a:solidFill>
                <a:latin typeface="Arial" panose="020B0604020202020204" pitchFamily="34" charset="0"/>
                <a:cs typeface="Arial" panose="020B0604020202020204" pitchFamily="34" charset="0"/>
              </a:rPr>
              <a:t>Elite Infrastructure &amp; Connectivity: </a:t>
            </a:r>
          </a:p>
          <a:p>
            <a:pPr marL="625475" algn="ctr"/>
            <a:r>
              <a:rPr lang="en-US" sz="1200">
                <a:solidFill>
                  <a:schemeClr val="accent1"/>
                </a:solidFill>
                <a:latin typeface="Arial" panose="020B0604020202020204" pitchFamily="34" charset="0"/>
                <a:cs typeface="Arial" panose="020B0604020202020204" pitchFamily="34" charset="0"/>
              </a:rPr>
              <a:t>The region offers the highest density of dark fiber globally, with ultra-fast, redundant networks and reliable grid access — ideal for hyperscale and cloud operations.</a:t>
            </a:r>
          </a:p>
        </p:txBody>
      </p:sp>
      <p:sp>
        <p:nvSpPr>
          <p:cNvPr id="10" name="Rectangle 9">
            <a:extLst>
              <a:ext uri="{FF2B5EF4-FFF2-40B4-BE49-F238E27FC236}">
                <a16:creationId xmlns:a16="http://schemas.microsoft.com/office/drawing/2014/main" id="{248390CE-A9D9-55BF-0C56-3E16BBD3E6CF}"/>
              </a:ext>
            </a:extLst>
          </p:cNvPr>
          <p:cNvSpPr/>
          <p:nvPr/>
        </p:nvSpPr>
        <p:spPr>
          <a:xfrm>
            <a:off x="7084853" y="3023631"/>
            <a:ext cx="4657967" cy="118872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5475" indent="60325" algn="ctr"/>
            <a:r>
              <a:rPr lang="en-US" sz="1200" b="1">
                <a:solidFill>
                  <a:schemeClr val="accent1"/>
                </a:solidFill>
                <a:latin typeface="Arial" panose="020B0604020202020204" pitchFamily="34" charset="0"/>
                <a:cs typeface="Arial" panose="020B0604020202020204" pitchFamily="34" charset="0"/>
              </a:rPr>
              <a:t>Business-Friendly with Strong Incentives: </a:t>
            </a:r>
          </a:p>
          <a:p>
            <a:pPr marL="625475" indent="60325" algn="ctr"/>
            <a:r>
              <a:rPr lang="en-US" sz="1200">
                <a:solidFill>
                  <a:schemeClr val="accent1"/>
                </a:solidFill>
                <a:latin typeface="Arial" panose="020B0604020202020204" pitchFamily="34" charset="0"/>
                <a:cs typeface="Arial" panose="020B0604020202020204" pitchFamily="34" charset="0"/>
              </a:rPr>
              <a:t>Virginia provides competitive electricity rates, fast permitting, and sales tax exemptions on qualifying data center equipment, creating a highly attractive investment climate.</a:t>
            </a:r>
          </a:p>
        </p:txBody>
      </p:sp>
      <p:sp>
        <p:nvSpPr>
          <p:cNvPr id="11" name="Rectangle 10">
            <a:extLst>
              <a:ext uri="{FF2B5EF4-FFF2-40B4-BE49-F238E27FC236}">
                <a16:creationId xmlns:a16="http://schemas.microsoft.com/office/drawing/2014/main" id="{40DA4D29-7D54-9CB3-E2FE-F13DA0B262F0}"/>
              </a:ext>
            </a:extLst>
          </p:cNvPr>
          <p:cNvSpPr/>
          <p:nvPr/>
        </p:nvSpPr>
        <p:spPr>
          <a:xfrm>
            <a:off x="7084853" y="4391571"/>
            <a:ext cx="4657967" cy="1188720"/>
          </a:xfrm>
          <a:prstGeom prst="rect">
            <a:avLst/>
          </a:prstGeom>
          <a:solidFill>
            <a:srgbClr val="FFE9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85800" algn="ctr"/>
            <a:r>
              <a:rPr lang="en-US" sz="1200" b="1">
                <a:solidFill>
                  <a:schemeClr val="accent1"/>
                </a:solidFill>
                <a:latin typeface="Arial" panose="020B0604020202020204" pitchFamily="34" charset="0"/>
                <a:cs typeface="Arial" panose="020B0604020202020204" pitchFamily="34" charset="0"/>
              </a:rPr>
              <a:t>Home to Major Hyperscalers: </a:t>
            </a:r>
          </a:p>
          <a:p>
            <a:pPr marL="685800" algn="ctr"/>
            <a:r>
              <a:rPr lang="en-US" sz="1200">
                <a:solidFill>
                  <a:schemeClr val="accent1"/>
                </a:solidFill>
                <a:latin typeface="Arial" panose="020B0604020202020204" pitchFamily="34" charset="0"/>
                <a:cs typeface="Arial" panose="020B0604020202020204" pitchFamily="34" charset="0"/>
              </a:rPr>
              <a:t>Industry leaders like AWS, Microsoft, Google, Equinix, and CyrusOne operate large-scale campuses, reinforcing the region’s reputation and ecosystem strength.</a:t>
            </a:r>
          </a:p>
        </p:txBody>
      </p:sp>
      <p:sp>
        <p:nvSpPr>
          <p:cNvPr id="12" name="Rectangle 11">
            <a:extLst>
              <a:ext uri="{FF2B5EF4-FFF2-40B4-BE49-F238E27FC236}">
                <a16:creationId xmlns:a16="http://schemas.microsoft.com/office/drawing/2014/main" id="{AA8FB89E-00D0-744A-234C-3EFFFA5ACEC4}"/>
              </a:ext>
            </a:extLst>
          </p:cNvPr>
          <p:cNvSpPr/>
          <p:nvPr/>
        </p:nvSpPr>
        <p:spPr>
          <a:xfrm>
            <a:off x="449179" y="5731306"/>
            <a:ext cx="11293641" cy="655091"/>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806450" algn="ctr"/>
            <a:r>
              <a:rPr lang="en-US" sz="1200" b="1">
                <a:solidFill>
                  <a:schemeClr val="accent1"/>
                </a:solidFill>
                <a:latin typeface="Arial" panose="020B0604020202020204" pitchFamily="34" charset="0"/>
                <a:cs typeface="Arial" panose="020B0604020202020204" pitchFamily="34" charset="0"/>
              </a:rPr>
              <a:t>Emerging Secondary Hubs: </a:t>
            </a:r>
          </a:p>
          <a:p>
            <a:pPr marL="806450" algn="ctr"/>
            <a:r>
              <a:rPr lang="en-US" sz="1200">
                <a:solidFill>
                  <a:schemeClr val="accent1"/>
                </a:solidFill>
                <a:latin typeface="Arial" panose="020B0604020202020204" pitchFamily="34" charset="0"/>
                <a:cs typeface="Arial" panose="020B0604020202020204" pitchFamily="34" charset="0"/>
              </a:rPr>
              <a:t>Areas like Richmond’s White Oak Technology Park are gaining traction, with Meta and Bank of America leading new hyperscale developments beyond Northern Virginia.</a:t>
            </a:r>
          </a:p>
        </p:txBody>
      </p:sp>
      <p:pic>
        <p:nvPicPr>
          <p:cNvPr id="15" name="Graphic 14" descr="Online Network with solid fill">
            <a:extLst>
              <a:ext uri="{FF2B5EF4-FFF2-40B4-BE49-F238E27FC236}">
                <a16:creationId xmlns:a16="http://schemas.microsoft.com/office/drawing/2014/main" id="{29E06702-CCC0-887B-6D62-274BD76267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98820" y="4677960"/>
            <a:ext cx="635970" cy="635970"/>
          </a:xfrm>
          <a:prstGeom prst="rect">
            <a:avLst/>
          </a:prstGeom>
        </p:spPr>
      </p:pic>
      <p:pic>
        <p:nvPicPr>
          <p:cNvPr id="18" name="Graphic 17" descr="Connections with solid fill">
            <a:extLst>
              <a:ext uri="{FF2B5EF4-FFF2-40B4-BE49-F238E27FC236}">
                <a16:creationId xmlns:a16="http://schemas.microsoft.com/office/drawing/2014/main" id="{51AEA4EC-6110-3C92-06B5-FACCF4CA25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098" y="889853"/>
            <a:ext cx="674155" cy="674155"/>
          </a:xfrm>
          <a:prstGeom prst="rect">
            <a:avLst/>
          </a:prstGeom>
        </p:spPr>
      </p:pic>
      <p:pic>
        <p:nvPicPr>
          <p:cNvPr id="20" name="Graphic 19" descr="Money with solid fill">
            <a:extLst>
              <a:ext uri="{FF2B5EF4-FFF2-40B4-BE49-F238E27FC236}">
                <a16:creationId xmlns:a16="http://schemas.microsoft.com/office/drawing/2014/main" id="{F6D40B5E-B091-7DD1-3811-73C36062BA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75922" y="3327525"/>
            <a:ext cx="562087" cy="562087"/>
          </a:xfrm>
          <a:prstGeom prst="rect">
            <a:avLst/>
          </a:prstGeom>
        </p:spPr>
      </p:pic>
      <p:pic>
        <p:nvPicPr>
          <p:cNvPr id="22" name="Graphic 21" descr="Internet Of Things with solid fill">
            <a:extLst>
              <a:ext uri="{FF2B5EF4-FFF2-40B4-BE49-F238E27FC236}">
                <a16:creationId xmlns:a16="http://schemas.microsoft.com/office/drawing/2014/main" id="{2B47AA2B-817B-B3C7-2F65-5E697232FB9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75922" y="1893410"/>
            <a:ext cx="658868" cy="658868"/>
          </a:xfrm>
          <a:prstGeom prst="rect">
            <a:avLst/>
          </a:prstGeom>
        </p:spPr>
      </p:pic>
      <p:pic>
        <p:nvPicPr>
          <p:cNvPr id="24" name="Graphic 23" descr="Connected with solid fill">
            <a:extLst>
              <a:ext uri="{FF2B5EF4-FFF2-40B4-BE49-F238E27FC236}">
                <a16:creationId xmlns:a16="http://schemas.microsoft.com/office/drawing/2014/main" id="{F3DAA6D7-1CD6-97DC-E5BF-8D9F8D1B9D6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58257" y="5734298"/>
            <a:ext cx="674886" cy="674886"/>
          </a:xfrm>
          <a:prstGeom prst="rect">
            <a:avLst/>
          </a:prstGeom>
        </p:spPr>
      </p:pic>
    </p:spTree>
    <p:extLst>
      <p:ext uri="{BB962C8B-B14F-4D97-AF65-F5344CB8AC3E}">
        <p14:creationId xmlns:p14="http://schemas.microsoft.com/office/powerpoint/2010/main" val="852523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1"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E9A9-33F9-2CE3-010F-4C90AD5A4B22}"/>
            </a:ext>
          </a:extLst>
        </p:cNvPr>
        <p:cNvGrpSpPr/>
        <p:nvPr/>
      </p:nvGrpSpPr>
      <p:grpSpPr>
        <a:xfrm>
          <a:off x="0" y="0"/>
          <a:ext cx="0" cy="0"/>
          <a:chOff x="0" y="0"/>
          <a:chExt cx="0" cy="0"/>
        </a:xfrm>
      </p:grpSpPr>
      <p:pic>
        <p:nvPicPr>
          <p:cNvPr id="7" name="Picture 6" descr="A close-up of blue text&#10;&#10;AI-generated content may be incorrect.">
            <a:extLst>
              <a:ext uri="{FF2B5EF4-FFF2-40B4-BE49-F238E27FC236}">
                <a16:creationId xmlns:a16="http://schemas.microsoft.com/office/drawing/2014/main" id="{73F9BCCB-D87A-880D-326B-D4368BF1E86D}"/>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Text Placeholder 1">
            <a:extLst>
              <a:ext uri="{FF2B5EF4-FFF2-40B4-BE49-F238E27FC236}">
                <a16:creationId xmlns:a16="http://schemas.microsoft.com/office/drawing/2014/main" id="{C28B83C4-B5AE-96BF-C704-486E9E9FF9CB}"/>
              </a:ext>
            </a:extLst>
          </p:cNvPr>
          <p:cNvSpPr>
            <a:spLocks noGrp="1"/>
          </p:cNvSpPr>
          <p:nvPr>
            <p:ph type="body" sz="quarter" idx="15"/>
          </p:nvPr>
        </p:nvSpPr>
        <p:spPr>
          <a:xfrm>
            <a:off x="592031" y="253988"/>
            <a:ext cx="10757719" cy="516626"/>
          </a:xfrm>
        </p:spPr>
        <p:txBody>
          <a:bodyPr>
            <a:noAutofit/>
          </a:bodyPr>
          <a:lstStyle/>
          <a:p>
            <a:pPr marL="0" indent="0">
              <a:lnSpc>
                <a:spcPct val="100000"/>
              </a:lnSpc>
              <a:buNone/>
            </a:pPr>
            <a:r>
              <a:rPr lang="en-US" sz="3200" b="1" noProof="0">
                <a:solidFill>
                  <a:schemeClr val="accent1"/>
                </a:solidFill>
              </a:rPr>
              <a:t>Key Insights</a:t>
            </a:r>
          </a:p>
        </p:txBody>
      </p:sp>
      <p:sp>
        <p:nvSpPr>
          <p:cNvPr id="9" name="Rectangle 8">
            <a:extLst>
              <a:ext uri="{FF2B5EF4-FFF2-40B4-BE49-F238E27FC236}">
                <a16:creationId xmlns:a16="http://schemas.microsoft.com/office/drawing/2014/main" id="{7EB9071E-46B0-EC98-74CC-E4FE3EF64B96}"/>
              </a:ext>
            </a:extLst>
          </p:cNvPr>
          <p:cNvSpPr/>
          <p:nvPr/>
        </p:nvSpPr>
        <p:spPr>
          <a:xfrm>
            <a:off x="320724" y="980760"/>
            <a:ext cx="3863605" cy="38018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Infrastructure Advantage</a:t>
            </a:r>
          </a:p>
        </p:txBody>
      </p:sp>
      <p:sp>
        <p:nvSpPr>
          <p:cNvPr id="10" name="Rectangle 9">
            <a:extLst>
              <a:ext uri="{FF2B5EF4-FFF2-40B4-BE49-F238E27FC236}">
                <a16:creationId xmlns:a16="http://schemas.microsoft.com/office/drawing/2014/main" id="{5762E4B6-11B6-6CD9-6CAB-509FC0ACA79D}"/>
              </a:ext>
            </a:extLst>
          </p:cNvPr>
          <p:cNvSpPr/>
          <p:nvPr/>
        </p:nvSpPr>
        <p:spPr>
          <a:xfrm>
            <a:off x="4287790" y="980760"/>
            <a:ext cx="3863605" cy="380182"/>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Grid and Renewable Outlook</a:t>
            </a:r>
          </a:p>
        </p:txBody>
      </p:sp>
      <p:sp>
        <p:nvSpPr>
          <p:cNvPr id="11" name="Rectangle 10">
            <a:extLst>
              <a:ext uri="{FF2B5EF4-FFF2-40B4-BE49-F238E27FC236}">
                <a16:creationId xmlns:a16="http://schemas.microsoft.com/office/drawing/2014/main" id="{614610D6-B835-C70A-B762-759BA860A391}"/>
              </a:ext>
            </a:extLst>
          </p:cNvPr>
          <p:cNvSpPr/>
          <p:nvPr/>
        </p:nvSpPr>
        <p:spPr>
          <a:xfrm>
            <a:off x="320724" y="1436190"/>
            <a:ext cx="3863605" cy="721478"/>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Sites like Bruce Mansfield &amp; Mitchell Power Station offer 345kV tie-ins; PA has ample former coal plant land and pipeline access.</a:t>
            </a:r>
          </a:p>
        </p:txBody>
      </p:sp>
      <p:sp>
        <p:nvSpPr>
          <p:cNvPr id="20" name="Rectangle 19">
            <a:extLst>
              <a:ext uri="{FF2B5EF4-FFF2-40B4-BE49-F238E27FC236}">
                <a16:creationId xmlns:a16="http://schemas.microsoft.com/office/drawing/2014/main" id="{F7566970-DCF3-E1AB-41A8-EECB0CDE81CC}"/>
              </a:ext>
            </a:extLst>
          </p:cNvPr>
          <p:cNvSpPr/>
          <p:nvPr/>
        </p:nvSpPr>
        <p:spPr>
          <a:xfrm>
            <a:off x="320724" y="2673595"/>
            <a:ext cx="3863605" cy="81342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Peoples can offer turnkey sites with integrated energy delivery, making it easier to co-locate gas-powered data centers.</a:t>
            </a:r>
            <a:endParaRPr lang="en-US" sz="1200" noProof="0">
              <a:solidFill>
                <a:schemeClr val="accent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1A0B2A9-5E5C-AFFA-244E-E34C696C52C8}"/>
              </a:ext>
            </a:extLst>
          </p:cNvPr>
          <p:cNvSpPr/>
          <p:nvPr/>
        </p:nvSpPr>
        <p:spPr>
          <a:xfrm>
            <a:off x="320724" y="4143367"/>
            <a:ext cx="3863605" cy="709158"/>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Behind-the-meter gas generation offers lower, more stable rates than grid power.</a:t>
            </a:r>
          </a:p>
        </p:txBody>
      </p:sp>
      <p:sp>
        <p:nvSpPr>
          <p:cNvPr id="22" name="Rectangle 21">
            <a:extLst>
              <a:ext uri="{FF2B5EF4-FFF2-40B4-BE49-F238E27FC236}">
                <a16:creationId xmlns:a16="http://schemas.microsoft.com/office/drawing/2014/main" id="{6C40612A-96E2-C0A6-B30A-85656515D494}"/>
              </a:ext>
            </a:extLst>
          </p:cNvPr>
          <p:cNvSpPr/>
          <p:nvPr/>
        </p:nvSpPr>
        <p:spPr>
          <a:xfrm>
            <a:off x="320724" y="5388010"/>
            <a:ext cx="3863605" cy="724978"/>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Creates a competitive energy pricing edge, helping Peoples attract hyperscalers seeking long-term cost control.</a:t>
            </a:r>
            <a:endParaRPr lang="en-US" sz="1200" noProof="0">
              <a:solidFill>
                <a:schemeClr val="accent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B38EC4A-C6FF-05E2-FF86-489316DC9020}"/>
              </a:ext>
            </a:extLst>
          </p:cNvPr>
          <p:cNvSpPr/>
          <p:nvPr/>
        </p:nvSpPr>
        <p:spPr>
          <a:xfrm>
            <a:off x="4287790" y="1436190"/>
            <a:ext cx="3863605" cy="72147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Behind-the-meter gas generation offers lower, more stable rates than grid power.</a:t>
            </a:r>
          </a:p>
        </p:txBody>
      </p:sp>
      <p:sp>
        <p:nvSpPr>
          <p:cNvPr id="26" name="Rectangle 25">
            <a:extLst>
              <a:ext uri="{FF2B5EF4-FFF2-40B4-BE49-F238E27FC236}">
                <a16:creationId xmlns:a16="http://schemas.microsoft.com/office/drawing/2014/main" id="{C79EDEB7-5269-A1FA-A107-7CC6BF9710D2}"/>
              </a:ext>
            </a:extLst>
          </p:cNvPr>
          <p:cNvSpPr/>
          <p:nvPr/>
        </p:nvSpPr>
        <p:spPr>
          <a:xfrm>
            <a:off x="4287790" y="2673594"/>
            <a:ext cx="3863605" cy="7841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Creates a competitive energy pricing edge, helping Peoples attract hyperscalers seeking long-term cost control.</a:t>
            </a:r>
          </a:p>
        </p:txBody>
      </p:sp>
      <p:sp>
        <p:nvSpPr>
          <p:cNvPr id="27" name="Rectangle 26">
            <a:extLst>
              <a:ext uri="{FF2B5EF4-FFF2-40B4-BE49-F238E27FC236}">
                <a16:creationId xmlns:a16="http://schemas.microsoft.com/office/drawing/2014/main" id="{D0A18775-F9CC-9B4C-9A89-44B4AF07FFA5}"/>
              </a:ext>
            </a:extLst>
          </p:cNvPr>
          <p:cNvSpPr/>
          <p:nvPr/>
        </p:nvSpPr>
        <p:spPr>
          <a:xfrm>
            <a:off x="4287790" y="4143367"/>
            <a:ext cx="3863605" cy="709158"/>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Pittsburgh offers a faster deployment timeline — with data center power averaging ~36 months, compared to 5–7 years in other major markets.</a:t>
            </a:r>
          </a:p>
        </p:txBody>
      </p:sp>
      <p:sp>
        <p:nvSpPr>
          <p:cNvPr id="28" name="Rectangle 27">
            <a:extLst>
              <a:ext uri="{FF2B5EF4-FFF2-40B4-BE49-F238E27FC236}">
                <a16:creationId xmlns:a16="http://schemas.microsoft.com/office/drawing/2014/main" id="{53A0E7D3-653D-D1F2-C87B-845431C8D48B}"/>
              </a:ext>
            </a:extLst>
          </p:cNvPr>
          <p:cNvSpPr/>
          <p:nvPr/>
        </p:nvSpPr>
        <p:spPr>
          <a:xfrm>
            <a:off x="4287790" y="5388010"/>
            <a:ext cx="3863605" cy="724978"/>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Positions Peoples as an accelerator for deployment, shortening time-to-market for digital infrastructure clients.</a:t>
            </a:r>
            <a:endParaRPr lang="en-US" sz="1200" noProof="0">
              <a:solidFill>
                <a:schemeClr val="accent1"/>
              </a:solidFill>
              <a:latin typeface="Arial" panose="020B0604020202020204" pitchFamily="34" charset="0"/>
              <a:cs typeface="Arial" panose="020B0604020202020204" pitchFamily="34" charset="0"/>
            </a:endParaRPr>
          </a:p>
        </p:txBody>
      </p:sp>
      <p:sp>
        <p:nvSpPr>
          <p:cNvPr id="29" name="Isosceles Triangle 28">
            <a:extLst>
              <a:ext uri="{FF2B5EF4-FFF2-40B4-BE49-F238E27FC236}">
                <a16:creationId xmlns:a16="http://schemas.microsoft.com/office/drawing/2014/main" id="{836283A8-2717-CBA3-8C92-9B7B505BC7AB}"/>
              </a:ext>
            </a:extLst>
          </p:cNvPr>
          <p:cNvSpPr/>
          <p:nvPr/>
        </p:nvSpPr>
        <p:spPr>
          <a:xfrm rot="10800000">
            <a:off x="4287787" y="2230920"/>
            <a:ext cx="3863606" cy="369422"/>
          </a:xfrm>
          <a:prstGeom prst="triangle">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Isosceles Triangle 29">
            <a:extLst>
              <a:ext uri="{FF2B5EF4-FFF2-40B4-BE49-F238E27FC236}">
                <a16:creationId xmlns:a16="http://schemas.microsoft.com/office/drawing/2014/main" id="{321AE410-4130-4D58-7E7E-2BBB4DE0B2E3}"/>
              </a:ext>
            </a:extLst>
          </p:cNvPr>
          <p:cNvSpPr/>
          <p:nvPr/>
        </p:nvSpPr>
        <p:spPr>
          <a:xfrm rot="10800000">
            <a:off x="320719" y="2230920"/>
            <a:ext cx="3863607" cy="369422"/>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2" name="Straight Connector 31">
            <a:extLst>
              <a:ext uri="{FF2B5EF4-FFF2-40B4-BE49-F238E27FC236}">
                <a16:creationId xmlns:a16="http://schemas.microsoft.com/office/drawing/2014/main" id="{48FE321E-6F8A-E2FD-2F6B-958965B75410}"/>
              </a:ext>
            </a:extLst>
          </p:cNvPr>
          <p:cNvCxnSpPr>
            <a:cxnSpLocks/>
          </p:cNvCxnSpPr>
          <p:nvPr/>
        </p:nvCxnSpPr>
        <p:spPr>
          <a:xfrm>
            <a:off x="341267" y="3559687"/>
            <a:ext cx="1177719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01BC83BE-7D85-93B4-1821-61F2017650B0}"/>
              </a:ext>
            </a:extLst>
          </p:cNvPr>
          <p:cNvSpPr/>
          <p:nvPr/>
        </p:nvSpPr>
        <p:spPr>
          <a:xfrm rot="10800000">
            <a:off x="4308336" y="4933534"/>
            <a:ext cx="3863606" cy="369422"/>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4" name="Isosceles Triangle 33">
            <a:extLst>
              <a:ext uri="{FF2B5EF4-FFF2-40B4-BE49-F238E27FC236}">
                <a16:creationId xmlns:a16="http://schemas.microsoft.com/office/drawing/2014/main" id="{1632985F-A745-FD1E-8D07-2CA1D82FE00F}"/>
              </a:ext>
            </a:extLst>
          </p:cNvPr>
          <p:cNvSpPr/>
          <p:nvPr/>
        </p:nvSpPr>
        <p:spPr>
          <a:xfrm rot="10800000">
            <a:off x="341268" y="4933534"/>
            <a:ext cx="3863607" cy="369422"/>
          </a:xfrm>
          <a:prstGeom prst="triangle">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Rectangle 1">
            <a:extLst>
              <a:ext uri="{FF2B5EF4-FFF2-40B4-BE49-F238E27FC236}">
                <a16:creationId xmlns:a16="http://schemas.microsoft.com/office/drawing/2014/main" id="{77FF1668-DE81-B69A-A872-C2CD5CC3D252}"/>
              </a:ext>
            </a:extLst>
          </p:cNvPr>
          <p:cNvSpPr/>
          <p:nvPr/>
        </p:nvSpPr>
        <p:spPr>
          <a:xfrm>
            <a:off x="4287790" y="3682441"/>
            <a:ext cx="3863605" cy="38018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Short Deployment Timelines</a:t>
            </a:r>
          </a:p>
        </p:txBody>
      </p:sp>
      <p:sp>
        <p:nvSpPr>
          <p:cNvPr id="4" name="Slide Number Placeholder 23">
            <a:extLst>
              <a:ext uri="{FF2B5EF4-FFF2-40B4-BE49-F238E27FC236}">
                <a16:creationId xmlns:a16="http://schemas.microsoft.com/office/drawing/2014/main" id="{BA229B09-E42E-BFE1-7077-60C0A0B3C837}"/>
              </a:ext>
            </a:extLst>
          </p:cNvPr>
          <p:cNvSpPr txBox="1">
            <a:spLocks/>
          </p:cNvSpPr>
          <p:nvPr/>
        </p:nvSpPr>
        <p:spPr>
          <a:xfrm>
            <a:off x="11687148" y="6482429"/>
            <a:ext cx="456726" cy="3490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2</a:t>
            </a:fld>
            <a:endParaRPr lang="en-US" b="1" noProof="0">
              <a:solidFill>
                <a:schemeClr val="accent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697E9D25-BA7F-92F8-ACAD-0A40414CFC57}"/>
              </a:ext>
            </a:extLst>
          </p:cNvPr>
          <p:cNvSpPr/>
          <p:nvPr/>
        </p:nvSpPr>
        <p:spPr>
          <a:xfrm>
            <a:off x="320721" y="3657838"/>
            <a:ext cx="3863605" cy="380182"/>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Power Affordability</a:t>
            </a:r>
          </a:p>
        </p:txBody>
      </p:sp>
      <p:sp>
        <p:nvSpPr>
          <p:cNvPr id="5" name="Rectangle 4">
            <a:extLst>
              <a:ext uri="{FF2B5EF4-FFF2-40B4-BE49-F238E27FC236}">
                <a16:creationId xmlns:a16="http://schemas.microsoft.com/office/drawing/2014/main" id="{D64D6D43-51DE-CE78-39D6-BACBA3A4E318}"/>
              </a:ext>
            </a:extLst>
          </p:cNvPr>
          <p:cNvSpPr/>
          <p:nvPr/>
        </p:nvSpPr>
        <p:spPr>
          <a:xfrm>
            <a:off x="8254854" y="980760"/>
            <a:ext cx="3863605" cy="38018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Regional Saturation Elsewhere</a:t>
            </a:r>
          </a:p>
        </p:txBody>
      </p:sp>
      <p:sp>
        <p:nvSpPr>
          <p:cNvPr id="8" name="Rectangle 7">
            <a:extLst>
              <a:ext uri="{FF2B5EF4-FFF2-40B4-BE49-F238E27FC236}">
                <a16:creationId xmlns:a16="http://schemas.microsoft.com/office/drawing/2014/main" id="{8019E57B-5CCD-57A5-D4CE-874D8A2703BE}"/>
              </a:ext>
            </a:extLst>
          </p:cNvPr>
          <p:cNvSpPr/>
          <p:nvPr/>
        </p:nvSpPr>
        <p:spPr>
          <a:xfrm>
            <a:off x="8254854" y="1436190"/>
            <a:ext cx="3863605" cy="72147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Northern Virginia, Dallas, Silicon Valley face grid strain and land scarcity.</a:t>
            </a:r>
          </a:p>
        </p:txBody>
      </p:sp>
      <p:sp>
        <p:nvSpPr>
          <p:cNvPr id="12" name="Rectangle 11">
            <a:extLst>
              <a:ext uri="{FF2B5EF4-FFF2-40B4-BE49-F238E27FC236}">
                <a16:creationId xmlns:a16="http://schemas.microsoft.com/office/drawing/2014/main" id="{676B27F8-D197-EBE6-6513-3AD1436D8B75}"/>
              </a:ext>
            </a:extLst>
          </p:cNvPr>
          <p:cNvSpPr/>
          <p:nvPr/>
        </p:nvSpPr>
        <p:spPr>
          <a:xfrm>
            <a:off x="8254854" y="2673594"/>
            <a:ext cx="3863605" cy="78411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Opens a first-mover window for Peoples to attract demand from hyperscalers priced or timed out of saturated markets.</a:t>
            </a:r>
          </a:p>
        </p:txBody>
      </p:sp>
      <p:sp>
        <p:nvSpPr>
          <p:cNvPr id="13" name="Rectangle 12">
            <a:extLst>
              <a:ext uri="{FF2B5EF4-FFF2-40B4-BE49-F238E27FC236}">
                <a16:creationId xmlns:a16="http://schemas.microsoft.com/office/drawing/2014/main" id="{5B2C8EDA-2508-64A0-6DAE-DA3CDEBB6E4B}"/>
              </a:ext>
            </a:extLst>
          </p:cNvPr>
          <p:cNvSpPr/>
          <p:nvPr/>
        </p:nvSpPr>
        <p:spPr>
          <a:xfrm>
            <a:off x="8254854" y="4143367"/>
            <a:ext cx="3863605" cy="70915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a:solidFill>
                  <a:schemeClr val="accent1"/>
                </a:solidFill>
                <a:latin typeface="Arial" panose="020B0604020202020204" pitchFamily="34" charset="0"/>
                <a:cs typeface="Arial" panose="020B0604020202020204" pitchFamily="34" charset="0"/>
              </a:rPr>
              <a:t>Pittsburgh is close to major East Coast metros and has lower climate risk.</a:t>
            </a:r>
          </a:p>
        </p:txBody>
      </p:sp>
      <p:sp>
        <p:nvSpPr>
          <p:cNvPr id="14" name="Rectangle 13">
            <a:extLst>
              <a:ext uri="{FF2B5EF4-FFF2-40B4-BE49-F238E27FC236}">
                <a16:creationId xmlns:a16="http://schemas.microsoft.com/office/drawing/2014/main" id="{25EA01F6-2F6C-B70F-FDC2-F1A8E1BE551B}"/>
              </a:ext>
            </a:extLst>
          </p:cNvPr>
          <p:cNvSpPr/>
          <p:nvPr/>
        </p:nvSpPr>
        <p:spPr>
          <a:xfrm>
            <a:off x="8254854" y="5388010"/>
            <a:ext cx="3863605" cy="72497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a:solidFill>
                  <a:schemeClr val="accent1"/>
                </a:solidFill>
                <a:latin typeface="Arial" panose="020B0604020202020204" pitchFamily="34" charset="0"/>
                <a:cs typeface="Arial" panose="020B0604020202020204" pitchFamily="34" charset="0"/>
              </a:rPr>
              <a:t>Peoples can market sites as resilient, disaster-safe locations with strategic access to growing data needs.</a:t>
            </a:r>
            <a:endParaRPr lang="en-US" sz="1200" noProof="0">
              <a:solidFill>
                <a:schemeClr val="accent1"/>
              </a:solidFill>
              <a:latin typeface="Arial" panose="020B0604020202020204" pitchFamily="34" charset="0"/>
              <a:cs typeface="Arial" panose="020B0604020202020204" pitchFamily="34" charset="0"/>
            </a:endParaRPr>
          </a:p>
        </p:txBody>
      </p:sp>
      <p:sp>
        <p:nvSpPr>
          <p:cNvPr id="15" name="Isosceles Triangle 14">
            <a:extLst>
              <a:ext uri="{FF2B5EF4-FFF2-40B4-BE49-F238E27FC236}">
                <a16:creationId xmlns:a16="http://schemas.microsoft.com/office/drawing/2014/main" id="{FD4245FB-F396-D87B-AB0E-508B9FE2FDEC}"/>
              </a:ext>
            </a:extLst>
          </p:cNvPr>
          <p:cNvSpPr/>
          <p:nvPr/>
        </p:nvSpPr>
        <p:spPr>
          <a:xfrm rot="10800000">
            <a:off x="8254851" y="2230920"/>
            <a:ext cx="3863606" cy="369422"/>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Isosceles Triangle 15">
            <a:extLst>
              <a:ext uri="{FF2B5EF4-FFF2-40B4-BE49-F238E27FC236}">
                <a16:creationId xmlns:a16="http://schemas.microsoft.com/office/drawing/2014/main" id="{F2316FE4-E2B2-FC5D-209B-BBBF77CFC91F}"/>
              </a:ext>
            </a:extLst>
          </p:cNvPr>
          <p:cNvSpPr/>
          <p:nvPr/>
        </p:nvSpPr>
        <p:spPr>
          <a:xfrm rot="10800000">
            <a:off x="8275400" y="4933534"/>
            <a:ext cx="3863606" cy="369422"/>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tangle 16">
            <a:extLst>
              <a:ext uri="{FF2B5EF4-FFF2-40B4-BE49-F238E27FC236}">
                <a16:creationId xmlns:a16="http://schemas.microsoft.com/office/drawing/2014/main" id="{968EA497-DEF8-312F-58AE-0322FF15E425}"/>
              </a:ext>
            </a:extLst>
          </p:cNvPr>
          <p:cNvSpPr/>
          <p:nvPr/>
        </p:nvSpPr>
        <p:spPr>
          <a:xfrm>
            <a:off x="8254854" y="3682441"/>
            <a:ext cx="3863605" cy="380182"/>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1"/>
                </a:solidFill>
                <a:latin typeface="Arial" panose="020B0604020202020204" pitchFamily="34" charset="0"/>
                <a:cs typeface="Arial" panose="020B0604020202020204" pitchFamily="34" charset="0"/>
              </a:rPr>
              <a:t>Proximity to Demand + Resilience</a:t>
            </a:r>
          </a:p>
        </p:txBody>
      </p:sp>
      <p:graphicFrame>
        <p:nvGraphicFramePr>
          <p:cNvPr id="23" name="Diagram 22">
            <a:extLst>
              <a:ext uri="{FF2B5EF4-FFF2-40B4-BE49-F238E27FC236}">
                <a16:creationId xmlns:a16="http://schemas.microsoft.com/office/drawing/2014/main" id="{F250080C-070B-7CF9-6EE0-B19C90DD1178}"/>
              </a:ext>
            </a:extLst>
          </p:cNvPr>
          <p:cNvGraphicFramePr/>
          <p:nvPr>
            <p:extLst>
              <p:ext uri="{D42A27DB-BD31-4B8C-83A1-F6EECF244321}">
                <p14:modId xmlns:p14="http://schemas.microsoft.com/office/powerpoint/2010/main" val="869630590"/>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516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0" grpId="0" animBg="1"/>
      <p:bldP spid="21" grpId="0" animBg="1"/>
      <p:bldP spid="22" grpId="0" animBg="1"/>
      <p:bldP spid="24" grpId="0" animBg="1"/>
      <p:bldP spid="26" grpId="0" animBg="1"/>
      <p:bldP spid="27" grpId="0" animBg="1"/>
      <p:bldP spid="28" grpId="0" animBg="1"/>
      <p:bldP spid="29" grpId="0" animBg="1"/>
      <p:bldP spid="30" grpId="0" animBg="1"/>
      <p:bldP spid="33" grpId="0" animBg="1"/>
      <p:bldP spid="34" grpId="0" animBg="1"/>
      <p:bldP spid="2" grpId="0" animBg="1"/>
      <p:bldP spid="3" grpId="0" animBg="1"/>
      <p:bldP spid="5" grpId="0" animBg="1"/>
      <p:bldP spid="8" grpId="0" animBg="1"/>
      <p:bldP spid="12" grpId="0" animBg="1"/>
      <p:bldP spid="13" grpId="0" animBg="1"/>
      <p:bldP spid="14" grpId="0" animBg="1"/>
      <p:bldP spid="15" grpId="0" animBg="1"/>
      <p:bldP spid="16"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2EFACEB-49C6-FFA9-16DA-20DDF830DCE5}"/>
              </a:ext>
            </a:extLst>
          </p:cNvPr>
          <p:cNvPicPr>
            <a:picLocks noChangeAspect="1"/>
          </p:cNvPicPr>
          <p:nvPr/>
        </p:nvPicPr>
        <p:blipFill>
          <a:blip r:embed="rId3"/>
          <a:srcRect l="1063" t="9864" b="4965"/>
          <a:stretch/>
        </p:blipFill>
        <p:spPr>
          <a:xfrm>
            <a:off x="492909" y="995867"/>
            <a:ext cx="4393132" cy="2432525"/>
          </a:xfrm>
          <a:prstGeom prst="rect">
            <a:avLst/>
          </a:prstGeom>
        </p:spPr>
      </p:pic>
      <p:sp>
        <p:nvSpPr>
          <p:cNvPr id="7" name="Slide Number Placeholder 23">
            <a:extLst>
              <a:ext uri="{FF2B5EF4-FFF2-40B4-BE49-F238E27FC236}">
                <a16:creationId xmlns:a16="http://schemas.microsoft.com/office/drawing/2014/main" id="{BFFB1A90-1C1B-C316-62C5-46AAB765B7BB}"/>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3</a:t>
            </a:fld>
            <a:endParaRPr lang="en-US" b="1" noProof="0">
              <a:solidFill>
                <a:schemeClr val="accent1"/>
              </a:solidFill>
              <a:latin typeface="Arial" panose="020B0604020202020204" pitchFamily="34" charset="0"/>
              <a:cs typeface="Arial" panose="020B0604020202020204" pitchFamily="34" charset="0"/>
            </a:endParaRPr>
          </a:p>
        </p:txBody>
      </p:sp>
      <p:sp>
        <p:nvSpPr>
          <p:cNvPr id="8" name="Text Placeholder 1">
            <a:extLst>
              <a:ext uri="{FF2B5EF4-FFF2-40B4-BE49-F238E27FC236}">
                <a16:creationId xmlns:a16="http://schemas.microsoft.com/office/drawing/2014/main" id="{C35144B2-17D6-2FBC-5119-3C3743951B0D}"/>
              </a:ext>
            </a:extLst>
          </p:cNvPr>
          <p:cNvSpPr txBox="1">
            <a:spLocks/>
          </p:cNvSpPr>
          <p:nvPr/>
        </p:nvSpPr>
        <p:spPr>
          <a:xfrm>
            <a:off x="492909" y="211707"/>
            <a:ext cx="11358196"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Coal Sites: Retired Sites as Data Center Campuses</a:t>
            </a:r>
          </a:p>
        </p:txBody>
      </p:sp>
      <p:sp>
        <p:nvSpPr>
          <p:cNvPr id="12" name="Rectangle 11">
            <a:extLst>
              <a:ext uri="{FF2B5EF4-FFF2-40B4-BE49-F238E27FC236}">
                <a16:creationId xmlns:a16="http://schemas.microsoft.com/office/drawing/2014/main" id="{61FEFFFD-B4A4-FB2D-5530-89CFDAC3D3E5}"/>
              </a:ext>
            </a:extLst>
          </p:cNvPr>
          <p:cNvSpPr/>
          <p:nvPr/>
        </p:nvSpPr>
        <p:spPr>
          <a:xfrm>
            <a:off x="5053263" y="995868"/>
            <a:ext cx="6914147" cy="11864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Reuse of Electrical Interconnection</a:t>
            </a:r>
          </a:p>
          <a:p>
            <a:pPr marL="285750" indent="-285750">
              <a:buFont typeface="Arial" panose="020B0604020202020204" pitchFamily="34" charset="0"/>
              <a:buChar char="•"/>
            </a:pPr>
            <a:r>
              <a:rPr lang="en-US" sz="1400" noProof="0">
                <a:solidFill>
                  <a:schemeClr val="accent1"/>
                </a:solidFill>
                <a:latin typeface="Arial" panose="020B0604020202020204" pitchFamily="34" charset="0"/>
                <a:cs typeface="Arial" panose="020B0604020202020204" pitchFamily="34" charset="0"/>
              </a:rPr>
              <a:t>Existing high-voltage tie-ins (e.g., 345kV at Homer City, Bruce Mansfield) reduce interconnection delays and cost.</a:t>
            </a:r>
          </a:p>
          <a:p>
            <a:pPr marL="285750" indent="-285750">
              <a:buFont typeface="Arial" panose="020B0604020202020204" pitchFamily="34" charset="0"/>
              <a:buChar char="•"/>
            </a:pPr>
            <a:r>
              <a:rPr lang="en-US" sz="1400" noProof="0">
                <a:solidFill>
                  <a:schemeClr val="accent1"/>
                </a:solidFill>
                <a:latin typeface="Arial" panose="020B0604020202020204" pitchFamily="34" charset="0"/>
                <a:cs typeface="Arial" panose="020B0604020202020204" pitchFamily="34" charset="0"/>
              </a:rPr>
              <a:t>Enables rapid deployment of energy infrastructure at brownfield sites.</a:t>
            </a:r>
          </a:p>
        </p:txBody>
      </p:sp>
      <p:sp>
        <p:nvSpPr>
          <p:cNvPr id="14" name="Rectangle 13">
            <a:extLst>
              <a:ext uri="{FF2B5EF4-FFF2-40B4-BE49-F238E27FC236}">
                <a16:creationId xmlns:a16="http://schemas.microsoft.com/office/drawing/2014/main" id="{D6EAE57F-2AAD-7FFD-5DF8-B9489D7F3265}"/>
              </a:ext>
            </a:extLst>
          </p:cNvPr>
          <p:cNvSpPr/>
          <p:nvPr/>
        </p:nvSpPr>
        <p:spPr>
          <a:xfrm>
            <a:off x="492909" y="3590089"/>
            <a:ext cx="7028799" cy="96398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Access to Incentives</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EPA Brownfields</a:t>
            </a:r>
            <a:r>
              <a:rPr lang="en-US" sz="1400" noProof="0">
                <a:solidFill>
                  <a:schemeClr val="accent1"/>
                </a:solidFill>
                <a:latin typeface="Arial" panose="020B0604020202020204" pitchFamily="34" charset="0"/>
                <a:cs typeface="Arial" panose="020B0604020202020204" pitchFamily="34" charset="0"/>
              </a:rPr>
              <a:t>: Grants for site assessment, planning, and remediation.</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IRA Tax Credits</a:t>
            </a:r>
            <a:r>
              <a:rPr lang="en-US" sz="1400" noProof="0">
                <a:solidFill>
                  <a:schemeClr val="accent1"/>
                </a:solidFill>
                <a:latin typeface="Arial" panose="020B0604020202020204" pitchFamily="34" charset="0"/>
                <a:cs typeface="Arial" panose="020B0604020202020204" pitchFamily="34" charset="0"/>
              </a:rPr>
              <a:t>: CHP systems may qualify for PTC/ITC if using hydrogen/RNG.</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State/Local</a:t>
            </a:r>
            <a:r>
              <a:rPr lang="en-US" sz="1400" noProof="0">
                <a:solidFill>
                  <a:schemeClr val="accent1"/>
                </a:solidFill>
                <a:latin typeface="Arial" panose="020B0604020202020204" pitchFamily="34" charset="0"/>
                <a:cs typeface="Arial" panose="020B0604020202020204" pitchFamily="34" charset="0"/>
              </a:rPr>
              <a:t>: KOZ, LERTA, and sales tax exemptions on data center equipment.</a:t>
            </a:r>
          </a:p>
        </p:txBody>
      </p:sp>
      <p:sp>
        <p:nvSpPr>
          <p:cNvPr id="15" name="Rectangle 14">
            <a:extLst>
              <a:ext uri="{FF2B5EF4-FFF2-40B4-BE49-F238E27FC236}">
                <a16:creationId xmlns:a16="http://schemas.microsoft.com/office/drawing/2014/main" id="{1CBB97F6-F5A4-13AF-9796-5F8F396B9256}"/>
              </a:ext>
            </a:extLst>
          </p:cNvPr>
          <p:cNvSpPr/>
          <p:nvPr/>
        </p:nvSpPr>
        <p:spPr>
          <a:xfrm>
            <a:off x="492908" y="4604816"/>
            <a:ext cx="7028799" cy="10305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Strategic Fit with Peoples Gas Goals</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Showcase Opportunity</a:t>
            </a:r>
            <a:r>
              <a:rPr lang="en-US" sz="1400" noProof="0">
                <a:solidFill>
                  <a:schemeClr val="accent1"/>
                </a:solidFill>
                <a:latin typeface="Arial" panose="020B0604020202020204" pitchFamily="34" charset="0"/>
                <a:cs typeface="Arial" panose="020B0604020202020204" pitchFamily="34" charset="0"/>
              </a:rPr>
              <a:t>: Use sites like Mitchell, Homer City, or </a:t>
            </a:r>
            <a:r>
              <a:rPr lang="en-US" sz="1400" noProof="0" err="1">
                <a:solidFill>
                  <a:schemeClr val="accent1"/>
                </a:solidFill>
                <a:latin typeface="Arial" panose="020B0604020202020204" pitchFamily="34" charset="0"/>
                <a:cs typeface="Arial" panose="020B0604020202020204" pitchFamily="34" charset="0"/>
              </a:rPr>
              <a:t>Elrama</a:t>
            </a:r>
            <a:r>
              <a:rPr lang="en-US" sz="1400" noProof="0">
                <a:solidFill>
                  <a:schemeClr val="accent1"/>
                </a:solidFill>
                <a:latin typeface="Arial" panose="020B0604020202020204" pitchFamily="34" charset="0"/>
                <a:cs typeface="Arial" panose="020B0604020202020204" pitchFamily="34" charset="0"/>
              </a:rPr>
              <a:t> as pilots.</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Marketing Value</a:t>
            </a:r>
            <a:r>
              <a:rPr lang="en-US" sz="1400" noProof="0">
                <a:solidFill>
                  <a:schemeClr val="accent1"/>
                </a:solidFill>
                <a:latin typeface="Arial" panose="020B0604020202020204" pitchFamily="34" charset="0"/>
                <a:cs typeface="Arial" panose="020B0604020202020204" pitchFamily="34" charset="0"/>
              </a:rPr>
              <a:t>: Promote Peoples as a clean infrastructure partner vs just a utility.</a:t>
            </a:r>
          </a:p>
          <a:p>
            <a:pPr marL="285750" indent="-2857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Policy Engagement</a:t>
            </a:r>
            <a:r>
              <a:rPr lang="en-US" sz="1400" noProof="0">
                <a:solidFill>
                  <a:schemeClr val="accent1"/>
                </a:solidFill>
                <a:latin typeface="Arial" panose="020B0604020202020204" pitchFamily="34" charset="0"/>
                <a:cs typeface="Arial" panose="020B0604020202020204" pitchFamily="34" charset="0"/>
              </a:rPr>
              <a:t>: Work with DCED and PEDA to package turnkey offerings.</a:t>
            </a:r>
          </a:p>
        </p:txBody>
      </p:sp>
      <p:sp>
        <p:nvSpPr>
          <p:cNvPr id="16" name="Rectangle 15">
            <a:extLst>
              <a:ext uri="{FF2B5EF4-FFF2-40B4-BE49-F238E27FC236}">
                <a16:creationId xmlns:a16="http://schemas.microsoft.com/office/drawing/2014/main" id="{747627A9-0169-CF93-6D41-F6760A06390A}"/>
              </a:ext>
            </a:extLst>
          </p:cNvPr>
          <p:cNvSpPr/>
          <p:nvPr/>
        </p:nvSpPr>
        <p:spPr>
          <a:xfrm>
            <a:off x="5053263" y="2237350"/>
            <a:ext cx="6914147" cy="118645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Behind-the-Meter Co-Gen as a Clean Energy Solution</a:t>
            </a:r>
          </a:p>
          <a:p>
            <a:pPr marL="285750" indent="-285750">
              <a:buFont typeface="Arial" panose="020B0604020202020204" pitchFamily="34" charset="0"/>
              <a:buChar char="•"/>
            </a:pPr>
            <a:r>
              <a:rPr lang="en-US" sz="1400">
                <a:solidFill>
                  <a:schemeClr val="accent1"/>
                </a:solidFill>
                <a:latin typeface="Arial" panose="020B0604020202020204" pitchFamily="34" charset="0"/>
                <a:cs typeface="Arial" panose="020B0604020202020204" pitchFamily="34" charset="0"/>
              </a:rPr>
              <a:t>Retrofit</a:t>
            </a:r>
            <a:r>
              <a:rPr lang="en-US" sz="1400" noProof="0">
                <a:solidFill>
                  <a:schemeClr val="accent1"/>
                </a:solidFill>
                <a:latin typeface="Arial" panose="020B0604020202020204" pitchFamily="34" charset="0"/>
                <a:cs typeface="Arial" panose="020B0604020202020204" pitchFamily="34" charset="0"/>
              </a:rPr>
              <a:t> natural gas-powered CHP systems directly adjacent to data centers to generate both electricity and thermal energy.</a:t>
            </a:r>
          </a:p>
          <a:p>
            <a:pPr marL="285750" indent="-285750">
              <a:buFont typeface="Arial" panose="020B0604020202020204" pitchFamily="34" charset="0"/>
              <a:buChar char="•"/>
            </a:pPr>
            <a:r>
              <a:rPr lang="en-US" sz="1400">
                <a:solidFill>
                  <a:schemeClr val="accent1"/>
                </a:solidFill>
                <a:latin typeface="Arial" panose="020B0604020202020204" pitchFamily="34" charset="0"/>
                <a:cs typeface="Arial" panose="020B0604020202020204" pitchFamily="34" charset="0"/>
              </a:rPr>
              <a:t>The excess heat can be captured and used to drive absorption or absorption chillers – providing efficient cooling and reducing overall energy consumption. </a:t>
            </a:r>
            <a:endParaRPr lang="en-US" sz="1400" noProof="0">
              <a:solidFill>
                <a:schemeClr val="accent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EEB0D8B1-C5BB-8FE6-7843-3E4C195EB112}"/>
              </a:ext>
            </a:extLst>
          </p:cNvPr>
          <p:cNvSpPr/>
          <p:nvPr/>
        </p:nvSpPr>
        <p:spPr>
          <a:xfrm>
            <a:off x="492908" y="5694634"/>
            <a:ext cx="7028799" cy="100429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Key Takeaway for Peoples Gas:</a:t>
            </a:r>
          </a:p>
          <a:p>
            <a:pPr algn="ctr"/>
            <a:r>
              <a:rPr lang="en-US" sz="1400" noProof="0">
                <a:solidFill>
                  <a:schemeClr val="accent1"/>
                </a:solidFill>
                <a:latin typeface="Arial" panose="020B0604020202020204" pitchFamily="34" charset="0"/>
                <a:cs typeface="Arial" panose="020B0604020202020204" pitchFamily="34" charset="0"/>
              </a:rPr>
              <a:t>Retired coal plants offer a fast, infrastructure-rich foundation for hyperscale deployment </a:t>
            </a:r>
            <a:br>
              <a:rPr lang="en-US" sz="1400" noProof="0">
                <a:solidFill>
                  <a:schemeClr val="accent1"/>
                </a:solidFill>
                <a:latin typeface="Arial" panose="020B0604020202020204" pitchFamily="34" charset="0"/>
                <a:cs typeface="Arial" panose="020B0604020202020204" pitchFamily="34" charset="0"/>
              </a:rPr>
            </a:br>
            <a:r>
              <a:rPr lang="en-US" sz="1400" noProof="0">
                <a:solidFill>
                  <a:schemeClr val="accent1"/>
                </a:solidFill>
                <a:latin typeface="Arial" panose="020B0604020202020204" pitchFamily="34" charset="0"/>
                <a:cs typeface="Arial" panose="020B0604020202020204" pitchFamily="34" charset="0"/>
              </a:rPr>
              <a:t>with minimal permitting friction—backed by incentives, fuel access, and built-in grid connectivity.</a:t>
            </a:r>
          </a:p>
        </p:txBody>
      </p:sp>
      <p:pic>
        <p:nvPicPr>
          <p:cNvPr id="2" name="Picture 1" descr="A close-up of blue text&#10;&#10;AI-generated content may be incorrect.">
            <a:extLst>
              <a:ext uri="{FF2B5EF4-FFF2-40B4-BE49-F238E27FC236}">
                <a16:creationId xmlns:a16="http://schemas.microsoft.com/office/drawing/2014/main" id="{691947B2-24B2-9674-98E5-C82A790BF71C}"/>
              </a:ext>
            </a:extLst>
          </p:cNvPr>
          <p:cNvPicPr>
            <a:picLocks noChangeAspect="1"/>
          </p:cNvPicPr>
          <p:nvPr/>
        </p:nvPicPr>
        <p:blipFill>
          <a:blip r:embed="rId4"/>
          <a:stretch>
            <a:fillRect/>
          </a:stretch>
        </p:blipFill>
        <p:spPr>
          <a:xfrm>
            <a:off x="7801586" y="5979638"/>
            <a:ext cx="4666600" cy="1120163"/>
          </a:xfrm>
          <a:prstGeom prst="rect">
            <a:avLst/>
          </a:prstGeom>
        </p:spPr>
      </p:pic>
      <p:pic>
        <p:nvPicPr>
          <p:cNvPr id="4" name="Picture 3">
            <a:extLst>
              <a:ext uri="{FF2B5EF4-FFF2-40B4-BE49-F238E27FC236}">
                <a16:creationId xmlns:a16="http://schemas.microsoft.com/office/drawing/2014/main" id="{F374E817-663C-7B2E-6C2A-A624AF949E4E}"/>
              </a:ext>
            </a:extLst>
          </p:cNvPr>
          <p:cNvPicPr>
            <a:picLocks noChangeAspect="1"/>
          </p:cNvPicPr>
          <p:nvPr/>
        </p:nvPicPr>
        <p:blipFill>
          <a:blip r:embed="rId5"/>
          <a:stretch>
            <a:fillRect/>
          </a:stretch>
        </p:blipFill>
        <p:spPr>
          <a:xfrm>
            <a:off x="7801586" y="3590089"/>
            <a:ext cx="4165823" cy="2680082"/>
          </a:xfrm>
          <a:prstGeom prst="rect">
            <a:avLst/>
          </a:prstGeom>
        </p:spPr>
      </p:pic>
      <p:sp>
        <p:nvSpPr>
          <p:cNvPr id="5" name="TextBox 4">
            <a:extLst>
              <a:ext uri="{FF2B5EF4-FFF2-40B4-BE49-F238E27FC236}">
                <a16:creationId xmlns:a16="http://schemas.microsoft.com/office/drawing/2014/main" id="{10571E6C-3C55-BCEB-3A03-378D95273961}"/>
              </a:ext>
            </a:extLst>
          </p:cNvPr>
          <p:cNvSpPr txBox="1"/>
          <p:nvPr/>
        </p:nvSpPr>
        <p:spPr>
          <a:xfrm>
            <a:off x="7716514" y="3377569"/>
            <a:ext cx="2277289" cy="246221"/>
          </a:xfrm>
          <a:prstGeom prst="rect">
            <a:avLst/>
          </a:prstGeom>
          <a:noFill/>
        </p:spPr>
        <p:txBody>
          <a:bodyPr wrap="square" rtlCol="0">
            <a:spAutoFit/>
          </a:bodyPr>
          <a:lstStyle/>
          <a:p>
            <a:r>
              <a:rPr lang="en-IN" sz="1000" i="1">
                <a:latin typeface="Arial" panose="020B0604020202020204" pitchFamily="34" charset="0"/>
                <a:cs typeface="Arial" panose="020B0604020202020204" pitchFamily="34" charset="0"/>
                <a:hlinkClick r:id="rId6"/>
              </a:rPr>
              <a:t>Source: DCED Link</a:t>
            </a:r>
            <a:r>
              <a:rPr lang="en-IN" sz="1000" i="1">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798399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DB1BE-2BE2-D832-E100-4068E3866646}"/>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2AE0D92B-0BC8-99A8-83B6-1356D06A5B7C}"/>
              </a:ext>
            </a:extLst>
          </p:cNvPr>
          <p:cNvGraphicFramePr/>
          <p:nvPr>
            <p:extLst>
              <p:ext uri="{D42A27DB-BD31-4B8C-83A1-F6EECF244321}">
                <p14:modId xmlns:p14="http://schemas.microsoft.com/office/powerpoint/2010/main" val="3838377035"/>
              </p:ext>
            </p:extLst>
          </p:nvPr>
        </p:nvGraphicFramePr>
        <p:xfrm>
          <a:off x="5772587" y="1488245"/>
          <a:ext cx="6334876" cy="4334957"/>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3">
            <a:extLst>
              <a:ext uri="{FF2B5EF4-FFF2-40B4-BE49-F238E27FC236}">
                <a16:creationId xmlns:a16="http://schemas.microsoft.com/office/drawing/2014/main" id="{C29B97D4-354C-6DB6-0566-93E31D87C5D8}"/>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4</a:t>
            </a:fld>
            <a:endParaRPr lang="en-US" b="1" noProof="0">
              <a:solidFill>
                <a:schemeClr val="accent1"/>
              </a:solidFill>
              <a:latin typeface="Arial" panose="020B0604020202020204" pitchFamily="34" charset="0"/>
              <a:cs typeface="Arial" panose="020B0604020202020204" pitchFamily="34" charset="0"/>
            </a:endParaRPr>
          </a:p>
        </p:txBody>
      </p:sp>
      <p:sp>
        <p:nvSpPr>
          <p:cNvPr id="11" name="Text Placeholder 1">
            <a:extLst>
              <a:ext uri="{FF2B5EF4-FFF2-40B4-BE49-F238E27FC236}">
                <a16:creationId xmlns:a16="http://schemas.microsoft.com/office/drawing/2014/main" id="{7ABD7347-3B74-124F-9D39-C8D7C4341B26}"/>
              </a:ext>
            </a:extLst>
          </p:cNvPr>
          <p:cNvSpPr txBox="1">
            <a:spLocks/>
          </p:cNvSpPr>
          <p:nvPr/>
        </p:nvSpPr>
        <p:spPr>
          <a:xfrm>
            <a:off x="480878" y="193027"/>
            <a:ext cx="6954638"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Competitive Rate Analysis</a:t>
            </a:r>
          </a:p>
        </p:txBody>
      </p:sp>
      <p:sp>
        <p:nvSpPr>
          <p:cNvPr id="12" name="Rectangle 11">
            <a:extLst>
              <a:ext uri="{FF2B5EF4-FFF2-40B4-BE49-F238E27FC236}">
                <a16:creationId xmlns:a16="http://schemas.microsoft.com/office/drawing/2014/main" id="{E98A0F81-B6CF-0D36-CDD4-0FDF82C8CBE2}"/>
              </a:ext>
            </a:extLst>
          </p:cNvPr>
          <p:cNvSpPr/>
          <p:nvPr/>
        </p:nvSpPr>
        <p:spPr>
          <a:xfrm>
            <a:off x="560853" y="1134067"/>
            <a:ext cx="5211733" cy="215008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Approach &amp; Methodology:</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Analyzed large-load utility tariffs for 300 MW data center demand (~2.6B kWh/year)</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Modeled Peoples Gas behind-the-meter generation using realistic fuel and O&amp;M costs</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Converted natural gas costs to electricity equivalent using:</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Heat rate: 0.00936 MMBtu/kWh</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Gas heating value: 1.037 MMBtu/Mcf</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Included all applicable charges: delivery, riders, retainage, and GRT</a:t>
            </a:r>
          </a:p>
          <a:p>
            <a:pPr marL="285750"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Benchmarked against utility electric rates for Dominion, Duquesne, West Penn</a:t>
            </a:r>
          </a:p>
        </p:txBody>
      </p:sp>
      <p:sp>
        <p:nvSpPr>
          <p:cNvPr id="13" name="Rectangle 12">
            <a:extLst>
              <a:ext uri="{FF2B5EF4-FFF2-40B4-BE49-F238E27FC236}">
                <a16:creationId xmlns:a16="http://schemas.microsoft.com/office/drawing/2014/main" id="{710A83F8-63DC-AD3D-A190-EDDD0B6D1FDF}"/>
              </a:ext>
            </a:extLst>
          </p:cNvPr>
          <p:cNvSpPr/>
          <p:nvPr/>
        </p:nvSpPr>
        <p:spPr>
          <a:xfrm>
            <a:off x="560854" y="3442530"/>
            <a:ext cx="5211732" cy="2580962"/>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Strategic Implications</a:t>
            </a:r>
          </a:p>
          <a:p>
            <a:pPr marL="171450" indent="-1714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Control over energy economics</a:t>
            </a:r>
            <a:r>
              <a:rPr lang="en-US" sz="1400" noProof="0">
                <a:solidFill>
                  <a:schemeClr val="accent1"/>
                </a:solidFill>
                <a:latin typeface="Arial" panose="020B0604020202020204" pitchFamily="34" charset="0"/>
                <a:cs typeface="Arial" panose="020B0604020202020204" pitchFamily="34" charset="0"/>
              </a:rPr>
              <a:t>: Avoids volatile grid charges (capacity, PJM, demand riders)</a:t>
            </a:r>
          </a:p>
          <a:p>
            <a:pPr marL="171450" indent="-1714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Speed to serve</a:t>
            </a:r>
            <a:r>
              <a:rPr lang="en-US" sz="1400" noProof="0">
                <a:solidFill>
                  <a:schemeClr val="accent1"/>
                </a:solidFill>
                <a:latin typeface="Arial" panose="020B0604020202020204" pitchFamily="34" charset="0"/>
                <a:cs typeface="Arial" panose="020B0604020202020204" pitchFamily="34" charset="0"/>
              </a:rPr>
              <a:t>: On-site co-generation deploys faster than grid interconnection</a:t>
            </a:r>
          </a:p>
          <a:p>
            <a:pPr marL="171450" indent="-1714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Customer value proposition</a:t>
            </a:r>
            <a:r>
              <a:rPr lang="en-US" sz="1400" noProof="0">
                <a:solidFill>
                  <a:schemeClr val="accent1"/>
                </a:solidFill>
                <a:latin typeface="Arial" panose="020B0604020202020204" pitchFamily="34" charset="0"/>
                <a:cs typeface="Arial" panose="020B0604020202020204" pitchFamily="34" charset="0"/>
              </a:rPr>
              <a:t>: Custom energy pricing undercuts regional electric utilities</a:t>
            </a:r>
          </a:p>
          <a:p>
            <a:pPr marL="171450" indent="-1714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Scalability</a:t>
            </a:r>
            <a:r>
              <a:rPr lang="en-US" sz="1400" noProof="0">
                <a:solidFill>
                  <a:schemeClr val="accent1"/>
                </a:solidFill>
                <a:latin typeface="Arial" panose="020B0604020202020204" pitchFamily="34" charset="0"/>
                <a:cs typeface="Arial" panose="020B0604020202020204" pitchFamily="34" charset="0"/>
              </a:rPr>
              <a:t>: Model can be replicated at</a:t>
            </a:r>
            <a:r>
              <a:rPr lang="en-US" sz="1400">
                <a:solidFill>
                  <a:schemeClr val="accent1"/>
                </a:solidFill>
                <a:latin typeface="Arial" panose="020B0604020202020204" pitchFamily="34" charset="0"/>
                <a:cs typeface="Arial" panose="020B0604020202020204" pitchFamily="34" charset="0"/>
              </a:rPr>
              <a:t> retired coal </a:t>
            </a:r>
            <a:r>
              <a:rPr lang="en-US" sz="1400" noProof="0">
                <a:solidFill>
                  <a:schemeClr val="accent1"/>
                </a:solidFill>
                <a:latin typeface="Arial" panose="020B0604020202020204" pitchFamily="34" charset="0"/>
                <a:cs typeface="Arial" panose="020B0604020202020204" pitchFamily="34" charset="0"/>
              </a:rPr>
              <a:t>sites with pipeline access</a:t>
            </a:r>
          </a:p>
          <a:p>
            <a:pPr marL="171450" indent="-171450">
              <a:buFont typeface="Arial" panose="020B0604020202020204" pitchFamily="34" charset="0"/>
              <a:buChar char="•"/>
            </a:pPr>
            <a:r>
              <a:rPr lang="en-US" sz="1400" b="1" noProof="0">
                <a:solidFill>
                  <a:schemeClr val="accent1"/>
                </a:solidFill>
                <a:latin typeface="Arial" panose="020B0604020202020204" pitchFamily="34" charset="0"/>
                <a:cs typeface="Arial" panose="020B0604020202020204" pitchFamily="34" charset="0"/>
              </a:rPr>
              <a:t>Energy independence</a:t>
            </a:r>
            <a:r>
              <a:rPr lang="en-US" sz="1400" noProof="0">
                <a:solidFill>
                  <a:schemeClr val="accent1"/>
                </a:solidFill>
                <a:latin typeface="Arial" panose="020B0604020202020204" pitchFamily="34" charset="0"/>
                <a:cs typeface="Arial" panose="020B0604020202020204" pitchFamily="34" charset="0"/>
              </a:rPr>
              <a:t>: Behind-the-meter ensures reliability during grid instability. </a:t>
            </a:r>
          </a:p>
        </p:txBody>
      </p:sp>
      <p:graphicFrame>
        <p:nvGraphicFramePr>
          <p:cNvPr id="5" name="Diagram 4">
            <a:extLst>
              <a:ext uri="{FF2B5EF4-FFF2-40B4-BE49-F238E27FC236}">
                <a16:creationId xmlns:a16="http://schemas.microsoft.com/office/drawing/2014/main" id="{6386B87C-B2E3-36A2-046B-3C7D986637E3}"/>
              </a:ext>
            </a:extLst>
          </p:cNvPr>
          <p:cNvGraphicFramePr/>
          <p:nvPr>
            <p:extLst>
              <p:ext uri="{D42A27DB-BD31-4B8C-83A1-F6EECF244321}">
                <p14:modId xmlns:p14="http://schemas.microsoft.com/office/powerpoint/2010/main" val="26013556"/>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A close-up of blue text&#10;&#10;AI-generated content may be incorrect.">
            <a:extLst>
              <a:ext uri="{FF2B5EF4-FFF2-40B4-BE49-F238E27FC236}">
                <a16:creationId xmlns:a16="http://schemas.microsoft.com/office/drawing/2014/main" id="{197F3A64-91E2-F8B5-97E5-8A6BC6059306}"/>
              </a:ext>
            </a:extLst>
          </p:cNvPr>
          <p:cNvPicPr>
            <a:picLocks noChangeAspect="1"/>
          </p:cNvPicPr>
          <p:nvPr/>
        </p:nvPicPr>
        <p:blipFill>
          <a:blip r:embed="rId8"/>
          <a:stretch>
            <a:fillRect/>
          </a:stretch>
        </p:blipFill>
        <p:spPr>
          <a:xfrm>
            <a:off x="7801586" y="5979638"/>
            <a:ext cx="4666600" cy="1120163"/>
          </a:xfrm>
          <a:prstGeom prst="rect">
            <a:avLst/>
          </a:prstGeom>
        </p:spPr>
      </p:pic>
      <p:sp>
        <p:nvSpPr>
          <p:cNvPr id="2" name="TextBox 1">
            <a:extLst>
              <a:ext uri="{FF2B5EF4-FFF2-40B4-BE49-F238E27FC236}">
                <a16:creationId xmlns:a16="http://schemas.microsoft.com/office/drawing/2014/main" id="{C3866CA7-353D-6E53-EC92-8E95418EA0A8}"/>
              </a:ext>
            </a:extLst>
          </p:cNvPr>
          <p:cNvSpPr txBox="1"/>
          <p:nvPr/>
        </p:nvSpPr>
        <p:spPr>
          <a:xfrm>
            <a:off x="10660501" y="5799493"/>
            <a:ext cx="1446962" cy="276999"/>
          </a:xfrm>
          <a:prstGeom prst="rect">
            <a:avLst/>
          </a:prstGeom>
          <a:noFill/>
        </p:spPr>
        <p:txBody>
          <a:bodyPr wrap="square" rtlCol="0">
            <a:spAutoFit/>
          </a:bodyPr>
          <a:lstStyle/>
          <a:p>
            <a:r>
              <a:rPr lang="en-IN" sz="1200"/>
              <a:t>Reference – (e) &amp; (f)</a:t>
            </a:r>
          </a:p>
        </p:txBody>
      </p:sp>
    </p:spTree>
    <p:extLst>
      <p:ext uri="{BB962C8B-B14F-4D97-AF65-F5344CB8AC3E}">
        <p14:creationId xmlns:p14="http://schemas.microsoft.com/office/powerpoint/2010/main" val="1453918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4416B-C658-DC49-71FD-5F6C2266D02B}"/>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74947E8-2478-76DF-FCF5-10B6D4036E03}"/>
              </a:ext>
            </a:extLst>
          </p:cNvPr>
          <p:cNvGraphicFramePr/>
          <p:nvPr>
            <p:extLst>
              <p:ext uri="{D42A27DB-BD31-4B8C-83A1-F6EECF244321}">
                <p14:modId xmlns:p14="http://schemas.microsoft.com/office/powerpoint/2010/main" val="1836708076"/>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A close-up of blue text&#10;&#10;AI-generated content may be incorrect.">
            <a:extLst>
              <a:ext uri="{FF2B5EF4-FFF2-40B4-BE49-F238E27FC236}">
                <a16:creationId xmlns:a16="http://schemas.microsoft.com/office/drawing/2014/main" id="{A4C376CC-76DD-175F-CB31-1A3CD197C185}"/>
              </a:ext>
            </a:extLst>
          </p:cNvPr>
          <p:cNvPicPr>
            <a:picLocks noChangeAspect="1"/>
          </p:cNvPicPr>
          <p:nvPr/>
        </p:nvPicPr>
        <p:blipFill>
          <a:blip r:embed="rId7"/>
          <a:stretch>
            <a:fillRect/>
          </a:stretch>
        </p:blipFill>
        <p:spPr>
          <a:xfrm>
            <a:off x="7801586" y="5979638"/>
            <a:ext cx="4666600" cy="1120163"/>
          </a:xfrm>
          <a:prstGeom prst="rect">
            <a:avLst/>
          </a:prstGeom>
        </p:spPr>
      </p:pic>
      <p:sp>
        <p:nvSpPr>
          <p:cNvPr id="5" name="Slide Number Placeholder 23">
            <a:extLst>
              <a:ext uri="{FF2B5EF4-FFF2-40B4-BE49-F238E27FC236}">
                <a16:creationId xmlns:a16="http://schemas.microsoft.com/office/drawing/2014/main" id="{AF73FFF0-EA43-126D-FD14-B5A469C50479}"/>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5</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53A82C1B-CEBF-CC67-CBA2-9FC777AFA391}"/>
              </a:ext>
            </a:extLst>
          </p:cNvPr>
          <p:cNvGraphicFramePr>
            <a:graphicFrameLocks noGrp="1"/>
          </p:cNvGraphicFramePr>
          <p:nvPr>
            <p:extLst>
              <p:ext uri="{D42A27DB-BD31-4B8C-83A1-F6EECF244321}">
                <p14:modId xmlns:p14="http://schemas.microsoft.com/office/powerpoint/2010/main" val="1570961741"/>
              </p:ext>
            </p:extLst>
          </p:nvPr>
        </p:nvGraphicFramePr>
        <p:xfrm>
          <a:off x="435452" y="2943147"/>
          <a:ext cx="11546858" cy="3324860"/>
        </p:xfrm>
        <a:graphic>
          <a:graphicData uri="http://schemas.openxmlformats.org/drawingml/2006/table">
            <a:tbl>
              <a:tblPr>
                <a:tableStyleId>{8A107856-5554-42FB-B03E-39F5DBC370BA}</a:tableStyleId>
              </a:tblPr>
              <a:tblGrid>
                <a:gridCol w="3914189">
                  <a:extLst>
                    <a:ext uri="{9D8B030D-6E8A-4147-A177-3AD203B41FA5}">
                      <a16:colId xmlns:a16="http://schemas.microsoft.com/office/drawing/2014/main" val="2882753775"/>
                    </a:ext>
                  </a:extLst>
                </a:gridCol>
                <a:gridCol w="1311253">
                  <a:extLst>
                    <a:ext uri="{9D8B030D-6E8A-4147-A177-3AD203B41FA5}">
                      <a16:colId xmlns:a16="http://schemas.microsoft.com/office/drawing/2014/main" val="1648755411"/>
                    </a:ext>
                  </a:extLst>
                </a:gridCol>
                <a:gridCol w="6321416">
                  <a:extLst>
                    <a:ext uri="{9D8B030D-6E8A-4147-A177-3AD203B41FA5}">
                      <a16:colId xmlns:a16="http://schemas.microsoft.com/office/drawing/2014/main" val="3542622533"/>
                    </a:ext>
                  </a:extLst>
                </a:gridCol>
              </a:tblGrid>
              <a:tr h="184150">
                <a:tc gridSpan="3">
                  <a:txBody>
                    <a:bodyPr/>
                    <a:lstStyle/>
                    <a:p>
                      <a:pPr algn="ctr" fontAlgn="b"/>
                      <a:r>
                        <a:rPr lang="en-IN" sz="1200" b="1" u="none" strike="noStrike">
                          <a:solidFill>
                            <a:schemeClr val="bg1"/>
                          </a:solidFill>
                          <a:effectLst/>
                          <a:latin typeface="Arial" panose="020B0604020202020204" pitchFamily="34" charset="0"/>
                          <a:cs typeface="Arial" panose="020B0604020202020204" pitchFamily="34" charset="0"/>
                        </a:rPr>
                        <a:t>Peoples Gas Rate Structure, Large General Services</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584154108"/>
                  </a:ext>
                </a:extLst>
              </a:tr>
              <a:tr h="184150">
                <a:tc>
                  <a:txBody>
                    <a:bodyPr/>
                    <a:lstStyle/>
                    <a:p>
                      <a:pPr algn="ctr" fontAlgn="b"/>
                      <a:r>
                        <a:rPr lang="en-IN" sz="1200" b="1" u="none" strike="noStrike">
                          <a:solidFill>
                            <a:schemeClr val="bg1"/>
                          </a:solidFill>
                          <a:effectLst/>
                          <a:latin typeface="Arial" panose="020B0604020202020204" pitchFamily="34" charset="0"/>
                          <a:cs typeface="Arial" panose="020B0604020202020204" pitchFamily="34" charset="0"/>
                        </a:rPr>
                        <a:t> </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fontAlgn="b"/>
                      <a:r>
                        <a:rPr lang="en-IN" sz="1200" b="1" u="none" strike="noStrike">
                          <a:solidFill>
                            <a:schemeClr val="bg1"/>
                          </a:solidFill>
                          <a:effectLst/>
                          <a:latin typeface="Arial" panose="020B0604020202020204" pitchFamily="34" charset="0"/>
                          <a:cs typeface="Arial" panose="020B0604020202020204" pitchFamily="34" charset="0"/>
                        </a:rPr>
                        <a:t>Total</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fontAlgn="b"/>
                      <a:r>
                        <a:rPr lang="en-IN" sz="1200" b="1" u="none" strike="noStrike">
                          <a:solidFill>
                            <a:schemeClr val="bg1"/>
                          </a:solidFill>
                          <a:effectLst/>
                          <a:latin typeface="Arial" panose="020B0604020202020204" pitchFamily="34" charset="0"/>
                          <a:cs typeface="Arial" panose="020B0604020202020204" pitchFamily="34" charset="0"/>
                        </a:rPr>
                        <a:t>Description</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586441048"/>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Commodity Cost ($/mcf)</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2.25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Base cost of natural gas purchased from Peoples Gas</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408847295"/>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Delivery charge ($/mcf)</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1.443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Tier 3 delivery rate for &gt;2M Mcf/year customers</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18362423"/>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Balancing Charge ($/mcf)</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234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Fee for balancing supply and demand on pipeline</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319031416"/>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Universal Service Rider (USR)</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605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Required unless exempt</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44556615"/>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Merchant Function Charge (MFC)</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0113</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Applies for GS-S customers</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2322454383"/>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Supplier Choice Rider</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008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Applies to all sales service</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628408"/>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4.5524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extLst>
                  <a:ext uri="{0D108BD9-81ED-4DB2-BD59-A6C34878D82A}">
                    <a16:rowId xmlns:a16="http://schemas.microsoft.com/office/drawing/2014/main" val="1789878500"/>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Retainage Adjustment (5.8%)</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264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Additional gas needed due to system losses (5.8%)($4.5524 × 5.8%)</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23520597"/>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4.8164</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1055975637"/>
                  </a:ext>
                </a:extLst>
              </a:tr>
              <a:tr h="184150">
                <a:tc>
                  <a:txBody>
                    <a:bodyPr/>
                    <a:lstStyle/>
                    <a:p>
                      <a:pPr algn="ctr" fontAlgn="b"/>
                      <a:r>
                        <a:rPr lang="en-US" sz="1100" u="none" strike="noStrike">
                          <a:effectLst/>
                          <a:latin typeface="Arial" panose="020B0604020202020204" pitchFamily="34" charset="0"/>
                          <a:cs typeface="Arial" panose="020B0604020202020204" pitchFamily="34" charset="0"/>
                        </a:rPr>
                        <a:t>Operating Cost of the power plant (</a:t>
                      </a:r>
                      <a:r>
                        <a:rPr lang="en-US" sz="1100" u="none" strike="noStrike" err="1">
                          <a:effectLst/>
                          <a:latin typeface="Arial" panose="020B0604020202020204" pitchFamily="34" charset="0"/>
                          <a:cs typeface="Arial" panose="020B0604020202020204" pitchFamily="34" charset="0"/>
                        </a:rPr>
                        <a:t>mWh</a:t>
                      </a:r>
                      <a:r>
                        <a:rPr lang="en-US" sz="1100" u="none" strike="noStrike">
                          <a:effectLst/>
                          <a:latin typeface="Arial" panose="020B0604020202020204" pitchFamily="34" charset="0"/>
                          <a:cs typeface="Arial" panose="020B0604020202020204" pitchFamily="34" charset="0"/>
                        </a:rPr>
                        <a:t>)</a:t>
                      </a:r>
                      <a:endParaRPr lang="en-US"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15 to $2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100" u="none" strike="noStrike">
                          <a:effectLst/>
                          <a:latin typeface="Arial" panose="020B0604020202020204" pitchFamily="34" charset="0"/>
                          <a:cs typeface="Arial" panose="020B0604020202020204" pitchFamily="34" charset="0"/>
                        </a:rPr>
                        <a:t>Typical for on-site behind-the-meter systems</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45362252"/>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 per MCF ($/mcf)</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4.8164</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2128946737"/>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 per </a:t>
                      </a:r>
                      <a:r>
                        <a:rPr lang="en-IN" sz="1100" u="none" strike="noStrike" err="1">
                          <a:effectLst/>
                          <a:latin typeface="Arial" panose="020B0604020202020204" pitchFamily="34" charset="0"/>
                          <a:cs typeface="Arial" panose="020B0604020202020204" pitchFamily="34" charset="0"/>
                        </a:rPr>
                        <a:t>Kwh</a:t>
                      </a:r>
                      <a:r>
                        <a:rPr lang="en-IN" sz="1100" u="none" strike="noStrike">
                          <a:effectLst/>
                          <a:latin typeface="Arial" panose="020B0604020202020204" pitchFamily="34" charset="0"/>
                          <a:cs typeface="Arial" panose="020B0604020202020204" pitchFamily="34" charset="0"/>
                        </a:rPr>
                        <a:t> ($/kwh)</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045082</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Heat rate = 0.00936</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29157921"/>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 per </a:t>
                      </a:r>
                      <a:r>
                        <a:rPr lang="en-IN" sz="1100" u="none" strike="noStrike" err="1">
                          <a:effectLst/>
                          <a:latin typeface="Arial" panose="020B0604020202020204" pitchFamily="34" charset="0"/>
                          <a:cs typeface="Arial" panose="020B0604020202020204" pitchFamily="34" charset="0"/>
                        </a:rPr>
                        <a:t>Mwh</a:t>
                      </a:r>
                      <a:r>
                        <a:rPr lang="en-IN" sz="1100" u="none" strike="noStrike">
                          <a:effectLst/>
                          <a:latin typeface="Arial" panose="020B0604020202020204" pitchFamily="34" charset="0"/>
                          <a:cs typeface="Arial" panose="020B0604020202020204" pitchFamily="34" charset="0"/>
                        </a:rPr>
                        <a:t> ($/</a:t>
                      </a:r>
                      <a:r>
                        <a:rPr lang="en-IN" sz="1100" u="none" strike="noStrike" err="1">
                          <a:effectLst/>
                          <a:latin typeface="Arial" panose="020B0604020202020204" pitchFamily="34" charset="0"/>
                          <a:cs typeface="Arial" panose="020B0604020202020204" pitchFamily="34" charset="0"/>
                        </a:rPr>
                        <a:t>Mwh</a:t>
                      </a:r>
                      <a:r>
                        <a:rPr lang="en-IN" sz="1100" u="none" strike="noStrike">
                          <a:effectLst/>
                          <a:latin typeface="Arial" panose="020B0604020202020204" pitchFamily="34" charset="0"/>
                          <a:cs typeface="Arial" panose="020B0604020202020204" pitchFamily="34" charset="0"/>
                        </a:rPr>
                        <a:t>)</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45.08</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7F7F7"/>
                    </a:solidFill>
                  </a:tcPr>
                </a:tc>
                <a:extLst>
                  <a:ext uri="{0D108BD9-81ED-4DB2-BD59-A6C34878D82A}">
                    <a16:rowId xmlns:a16="http://schemas.microsoft.com/office/drawing/2014/main" val="3046580037"/>
                  </a:ext>
                </a:extLst>
              </a:tr>
              <a:tr h="184150">
                <a:tc>
                  <a:txBody>
                    <a:bodyPr/>
                    <a:lstStyle/>
                    <a:p>
                      <a:pPr algn="ctr" fontAlgn="b"/>
                      <a:r>
                        <a:rPr lang="en-US" sz="1100" u="none" strike="noStrike">
                          <a:effectLst/>
                          <a:latin typeface="Arial" panose="020B0604020202020204" pitchFamily="34" charset="0"/>
                          <a:cs typeface="Arial" panose="020B0604020202020204" pitchFamily="34" charset="0"/>
                        </a:rPr>
                        <a:t>With O&amp;M cost of Power Plant (</a:t>
                      </a:r>
                      <a:r>
                        <a:rPr lang="en-US" sz="1100" u="none" strike="noStrike" err="1">
                          <a:effectLst/>
                          <a:latin typeface="Arial" panose="020B0604020202020204" pitchFamily="34" charset="0"/>
                          <a:cs typeface="Arial" panose="020B0604020202020204" pitchFamily="34" charset="0"/>
                        </a:rPr>
                        <a:t>mWh</a:t>
                      </a:r>
                      <a:r>
                        <a:rPr lang="en-US" sz="1100" u="none" strike="noStrike">
                          <a:effectLst/>
                          <a:latin typeface="Arial" panose="020B0604020202020204" pitchFamily="34" charset="0"/>
                          <a:cs typeface="Arial" panose="020B0604020202020204" pitchFamily="34" charset="0"/>
                        </a:rPr>
                        <a:t>)</a:t>
                      </a:r>
                      <a:endParaRPr lang="en-US"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20.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61237332"/>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 per kWh ($/kWh)</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0.065082</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214836587"/>
                  </a:ext>
                </a:extLst>
              </a:tr>
              <a:tr h="184150">
                <a:tc>
                  <a:txBody>
                    <a:bodyPr/>
                    <a:lstStyle/>
                    <a:p>
                      <a:pPr algn="ctr" fontAlgn="b"/>
                      <a:r>
                        <a:rPr lang="en-IN" sz="1100" u="none" strike="noStrike">
                          <a:effectLst/>
                          <a:latin typeface="Arial" panose="020B0604020202020204" pitchFamily="34" charset="0"/>
                          <a:cs typeface="Arial" panose="020B0604020202020204" pitchFamily="34" charset="0"/>
                        </a:rPr>
                        <a:t>Total per </a:t>
                      </a:r>
                      <a:r>
                        <a:rPr lang="en-IN" sz="1100" u="none" strike="noStrike" err="1">
                          <a:effectLst/>
                          <a:latin typeface="Arial" panose="020B0604020202020204" pitchFamily="34" charset="0"/>
                          <a:cs typeface="Arial" panose="020B0604020202020204" pitchFamily="34" charset="0"/>
                        </a:rPr>
                        <a:t>mWh</a:t>
                      </a:r>
                      <a:r>
                        <a:rPr lang="en-IN" sz="1100" u="none" strike="noStrike">
                          <a:effectLst/>
                          <a:latin typeface="Arial" panose="020B0604020202020204" pitchFamily="34" charset="0"/>
                          <a:cs typeface="Arial" panose="020B0604020202020204" pitchFamily="34" charset="0"/>
                        </a:rPr>
                        <a:t> ($/</a:t>
                      </a:r>
                      <a:r>
                        <a:rPr lang="en-IN" sz="1100" u="none" strike="noStrike" err="1">
                          <a:effectLst/>
                          <a:latin typeface="Arial" panose="020B0604020202020204" pitchFamily="34" charset="0"/>
                          <a:cs typeface="Arial" panose="020B0604020202020204" pitchFamily="34" charset="0"/>
                        </a:rPr>
                        <a:t>mWh</a:t>
                      </a:r>
                      <a:r>
                        <a:rPr lang="en-IN" sz="1100" u="none" strike="noStrike">
                          <a:effectLst/>
                          <a:latin typeface="Arial" panose="020B0604020202020204" pitchFamily="34" charset="0"/>
                          <a:cs typeface="Arial" panose="020B0604020202020204" pitchFamily="34" charset="0"/>
                        </a:rPr>
                        <a:t>)</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65.08</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b"/>
                      <a:r>
                        <a:rPr lang="en-IN" sz="1100" u="none" strike="noStrike">
                          <a:effectLst/>
                          <a:latin typeface="Arial" panose="020B0604020202020204" pitchFamily="34" charset="0"/>
                          <a:cs typeface="Arial" panose="020B0604020202020204" pitchFamily="34" charset="0"/>
                        </a:rPr>
                        <a:t> </a:t>
                      </a:r>
                      <a:endParaRPr lang="en-IN" sz="11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3561201"/>
                  </a:ext>
                </a:extLst>
              </a:tr>
            </a:tbl>
          </a:graphicData>
        </a:graphic>
      </p:graphicFrame>
      <p:sp>
        <p:nvSpPr>
          <p:cNvPr id="7" name="Text Placeholder 1">
            <a:extLst>
              <a:ext uri="{FF2B5EF4-FFF2-40B4-BE49-F238E27FC236}">
                <a16:creationId xmlns:a16="http://schemas.microsoft.com/office/drawing/2014/main" id="{661F35FB-345A-88F9-B041-28104B1286CB}"/>
              </a:ext>
            </a:extLst>
          </p:cNvPr>
          <p:cNvSpPr txBox="1">
            <a:spLocks/>
          </p:cNvSpPr>
          <p:nvPr/>
        </p:nvSpPr>
        <p:spPr>
          <a:xfrm>
            <a:off x="480877" y="193027"/>
            <a:ext cx="1125506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Competitive Rate Analysis for Hyperscale Data Centers</a:t>
            </a:r>
          </a:p>
        </p:txBody>
      </p:sp>
      <p:sp>
        <p:nvSpPr>
          <p:cNvPr id="9" name="Rectangle 8">
            <a:extLst>
              <a:ext uri="{FF2B5EF4-FFF2-40B4-BE49-F238E27FC236}">
                <a16:creationId xmlns:a16="http://schemas.microsoft.com/office/drawing/2014/main" id="{752614E3-C229-CF98-DF86-D0EAF750B867}"/>
              </a:ext>
            </a:extLst>
          </p:cNvPr>
          <p:cNvSpPr/>
          <p:nvPr/>
        </p:nvSpPr>
        <p:spPr>
          <a:xfrm>
            <a:off x="416688" y="825138"/>
            <a:ext cx="11565622" cy="62841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Key Takeaway</a:t>
            </a:r>
          </a:p>
          <a:p>
            <a:pPr algn="ctr"/>
            <a:r>
              <a:rPr lang="en-US" sz="1200" noProof="0">
                <a:solidFill>
                  <a:schemeClr val="accent1"/>
                </a:solidFill>
                <a:latin typeface="Arial" panose="020B0604020202020204" pitchFamily="34" charset="0"/>
                <a:cs typeface="Arial" panose="020B0604020202020204" pitchFamily="34" charset="0"/>
              </a:rPr>
              <a:t>Peoples Gas offers the most competitive, stable behind-the-meter cost at $65.08/MWh, outperforming Dominion ($92.89), West Penn ($86.11), and Duquesne Light ($80.36) when considering full power plant O&amp;M.</a:t>
            </a:r>
          </a:p>
        </p:txBody>
      </p:sp>
      <p:graphicFrame>
        <p:nvGraphicFramePr>
          <p:cNvPr id="15" name="Table 14">
            <a:extLst>
              <a:ext uri="{FF2B5EF4-FFF2-40B4-BE49-F238E27FC236}">
                <a16:creationId xmlns:a16="http://schemas.microsoft.com/office/drawing/2014/main" id="{79FC1FCC-26C0-A792-7F28-A3C37567C6C6}"/>
              </a:ext>
            </a:extLst>
          </p:cNvPr>
          <p:cNvGraphicFramePr>
            <a:graphicFrameLocks noGrp="1"/>
          </p:cNvGraphicFramePr>
          <p:nvPr>
            <p:extLst>
              <p:ext uri="{D42A27DB-BD31-4B8C-83A1-F6EECF244321}">
                <p14:modId xmlns:p14="http://schemas.microsoft.com/office/powerpoint/2010/main" val="1288516799"/>
              </p:ext>
            </p:extLst>
          </p:nvPr>
        </p:nvGraphicFramePr>
        <p:xfrm>
          <a:off x="435452" y="1558270"/>
          <a:ext cx="11546858" cy="1280160"/>
        </p:xfrm>
        <a:graphic>
          <a:graphicData uri="http://schemas.openxmlformats.org/drawingml/2006/table">
            <a:tbl>
              <a:tblPr>
                <a:tableStyleId>{8A107856-5554-42FB-B03E-39F5DBC370BA}</a:tableStyleId>
              </a:tblPr>
              <a:tblGrid>
                <a:gridCol w="2552812">
                  <a:extLst>
                    <a:ext uri="{9D8B030D-6E8A-4147-A177-3AD203B41FA5}">
                      <a16:colId xmlns:a16="http://schemas.microsoft.com/office/drawing/2014/main" val="1191686671"/>
                    </a:ext>
                  </a:extLst>
                </a:gridCol>
                <a:gridCol w="2402852">
                  <a:extLst>
                    <a:ext uri="{9D8B030D-6E8A-4147-A177-3AD203B41FA5}">
                      <a16:colId xmlns:a16="http://schemas.microsoft.com/office/drawing/2014/main" val="3031662895"/>
                    </a:ext>
                  </a:extLst>
                </a:gridCol>
                <a:gridCol w="6591194">
                  <a:extLst>
                    <a:ext uri="{9D8B030D-6E8A-4147-A177-3AD203B41FA5}">
                      <a16:colId xmlns:a16="http://schemas.microsoft.com/office/drawing/2014/main" val="3783919940"/>
                    </a:ext>
                  </a:extLst>
                </a:gridCol>
              </a:tblGrid>
              <a:tr h="0">
                <a:tc>
                  <a:txBody>
                    <a:bodyPr/>
                    <a:lstStyle/>
                    <a:p>
                      <a:pPr algn="ctr"/>
                      <a:r>
                        <a:rPr lang="en-US" sz="1200" b="1" noProof="0">
                          <a:solidFill>
                            <a:schemeClr val="bg1"/>
                          </a:solidFill>
                          <a:latin typeface="Arial" panose="020B0604020202020204" pitchFamily="34" charset="0"/>
                          <a:cs typeface="Arial" panose="020B0604020202020204" pitchFamily="34" charset="0"/>
                        </a:rPr>
                        <a:t>Utility Provider</a:t>
                      </a:r>
                      <a:endParaRPr lang="en-US" sz="1200" noProof="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200" b="1" noProof="0">
                          <a:solidFill>
                            <a:schemeClr val="bg1"/>
                          </a:solidFill>
                          <a:latin typeface="Arial" panose="020B0604020202020204" pitchFamily="34" charset="0"/>
                          <a:cs typeface="Arial" panose="020B0604020202020204" pitchFamily="34" charset="0"/>
                        </a:rPr>
                        <a:t>Total Cost ($/MWh)</a:t>
                      </a:r>
                      <a:endParaRPr lang="en-US" sz="1200" noProof="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200" b="1" noProof="0">
                          <a:solidFill>
                            <a:schemeClr val="bg1"/>
                          </a:solidFill>
                          <a:latin typeface="Arial" panose="020B0604020202020204" pitchFamily="34" charset="0"/>
                          <a:cs typeface="Arial" panose="020B0604020202020204" pitchFamily="34" charset="0"/>
                        </a:rPr>
                        <a:t>Highlights</a:t>
                      </a:r>
                      <a:endParaRPr lang="en-US" sz="1200" noProof="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503194467"/>
                  </a:ext>
                </a:extLst>
              </a:tr>
              <a:tr h="0">
                <a:tc>
                  <a:txBody>
                    <a:bodyPr/>
                    <a:lstStyle/>
                    <a:p>
                      <a:pPr algn="ctr"/>
                      <a:r>
                        <a:rPr lang="en-US" sz="1050" b="1" noProof="0">
                          <a:latin typeface="Arial" panose="020B0604020202020204" pitchFamily="34" charset="0"/>
                          <a:cs typeface="Arial" panose="020B0604020202020204" pitchFamily="34" charset="0"/>
                        </a:rPr>
                        <a:t>Peoples Gas (B-T-M)</a:t>
                      </a:r>
                      <a:endParaRPr lang="en-US" sz="1050" noProof="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050" b="1" noProof="0">
                          <a:latin typeface="Arial" panose="020B0604020202020204" pitchFamily="34" charset="0"/>
                          <a:cs typeface="Arial" panose="020B0604020202020204" pitchFamily="34" charset="0"/>
                        </a:rPr>
                        <a:t>$65.08</a:t>
                      </a:r>
                      <a:endParaRPr lang="en-US" sz="1050" noProof="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050" noProof="0">
                          <a:latin typeface="Arial" panose="020B0604020202020204" pitchFamily="34" charset="0"/>
                          <a:cs typeface="Arial" panose="020B0604020202020204" pitchFamily="34" charset="0"/>
                        </a:rPr>
                        <a:t>Lowest volatility, bypasses grid congestion and transmission risk</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1234109545"/>
                  </a:ext>
                </a:extLst>
              </a:tr>
              <a:tr h="0">
                <a:tc>
                  <a:txBody>
                    <a:bodyPr/>
                    <a:lstStyle/>
                    <a:p>
                      <a:pPr algn="ctr"/>
                      <a:r>
                        <a:rPr lang="en-US" sz="1050" noProof="0">
                          <a:latin typeface="Arial" panose="020B0604020202020204" pitchFamily="34" charset="0"/>
                          <a:cs typeface="Arial" panose="020B0604020202020204" pitchFamily="34" charset="0"/>
                        </a:rPr>
                        <a:t>Duquesne Ligh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noProof="0">
                          <a:latin typeface="Arial" panose="020B0604020202020204" pitchFamily="34" charset="0"/>
                          <a:cs typeface="Arial" panose="020B0604020202020204" pitchFamily="34" charset="0"/>
                        </a:rPr>
                        <a:t>$80.36</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noProof="0">
                          <a:latin typeface="Arial" panose="020B0604020202020204" pitchFamily="34" charset="0"/>
                          <a:cs typeface="Arial" panose="020B0604020202020204" pitchFamily="34" charset="0"/>
                        </a:rPr>
                        <a:t>Grid-tied, layered fixed + rider costs, demand-based rate componen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4372435"/>
                  </a:ext>
                </a:extLst>
              </a:tr>
              <a:tr h="0">
                <a:tc>
                  <a:txBody>
                    <a:bodyPr/>
                    <a:lstStyle/>
                    <a:p>
                      <a:pPr algn="ctr"/>
                      <a:r>
                        <a:rPr lang="en-US" sz="1050" noProof="0">
                          <a:latin typeface="Arial" panose="020B0604020202020204" pitchFamily="34" charset="0"/>
                          <a:cs typeface="Arial" panose="020B0604020202020204" pitchFamily="34" charset="0"/>
                        </a:rPr>
                        <a:t>West Penn Pow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050" noProof="0">
                          <a:latin typeface="Arial" panose="020B0604020202020204" pitchFamily="34" charset="0"/>
                          <a:cs typeface="Arial" panose="020B0604020202020204" pitchFamily="34" charset="0"/>
                        </a:rPr>
                        <a:t>$86.1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050" noProof="0">
                          <a:latin typeface="Arial" panose="020B0604020202020204" pitchFamily="34" charset="0"/>
                          <a:cs typeface="Arial" panose="020B0604020202020204" pitchFamily="34" charset="0"/>
                        </a:rPr>
                        <a:t>Includes grid losses and gross-up from PJM, slightly above Peopl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467049693"/>
                  </a:ext>
                </a:extLst>
              </a:tr>
              <a:tr h="0">
                <a:tc>
                  <a:txBody>
                    <a:bodyPr/>
                    <a:lstStyle/>
                    <a:p>
                      <a:pPr algn="ctr"/>
                      <a:r>
                        <a:rPr lang="en-US" sz="1050" noProof="0">
                          <a:latin typeface="Arial" panose="020B0604020202020204" pitchFamily="34" charset="0"/>
                          <a:cs typeface="Arial" panose="020B0604020202020204" pitchFamily="34" charset="0"/>
                        </a:rPr>
                        <a:t>Dominion Energ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noProof="0">
                          <a:latin typeface="Arial" panose="020B0604020202020204" pitchFamily="34" charset="0"/>
                          <a:cs typeface="Arial" panose="020B0604020202020204" pitchFamily="34" charset="0"/>
                        </a:rPr>
                        <a:t>$92.89 – $114.2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noProof="0">
                          <a:latin typeface="Arial" panose="020B0604020202020204" pitchFamily="34" charset="0"/>
                          <a:cs typeface="Arial" panose="020B0604020202020204" pitchFamily="34" charset="0"/>
                        </a:rPr>
                        <a:t>Peak pricing risk, layered surcharges, slow interconnection proces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81267943"/>
                  </a:ext>
                </a:extLst>
              </a:tr>
            </a:tbl>
          </a:graphicData>
        </a:graphic>
      </p:graphicFrame>
    </p:spTree>
    <p:extLst>
      <p:ext uri="{BB962C8B-B14F-4D97-AF65-F5344CB8AC3E}">
        <p14:creationId xmlns:p14="http://schemas.microsoft.com/office/powerpoint/2010/main" val="3625720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8074C-947E-6E03-158D-61917D5699B9}"/>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9F5E84D-8208-1C92-DBEB-D33ACBC0E113}"/>
              </a:ext>
            </a:extLst>
          </p:cNvPr>
          <p:cNvGraphicFramePr>
            <a:graphicFrameLocks noGrp="1"/>
          </p:cNvGraphicFramePr>
          <p:nvPr>
            <p:extLst>
              <p:ext uri="{D42A27DB-BD31-4B8C-83A1-F6EECF244321}">
                <p14:modId xmlns:p14="http://schemas.microsoft.com/office/powerpoint/2010/main" val="3236865402"/>
              </p:ext>
            </p:extLst>
          </p:nvPr>
        </p:nvGraphicFramePr>
        <p:xfrm>
          <a:off x="6677026" y="1191521"/>
          <a:ext cx="5034099" cy="4441026"/>
        </p:xfrm>
        <a:graphic>
          <a:graphicData uri="http://schemas.openxmlformats.org/drawingml/2006/table">
            <a:tbl>
              <a:tblPr>
                <a:tableStyleId>{8A107856-5554-42FB-B03E-39F5DBC370BA}</a:tableStyleId>
              </a:tblPr>
              <a:tblGrid>
                <a:gridCol w="1725644">
                  <a:extLst>
                    <a:ext uri="{9D8B030D-6E8A-4147-A177-3AD203B41FA5}">
                      <a16:colId xmlns:a16="http://schemas.microsoft.com/office/drawing/2014/main" val="4253683662"/>
                    </a:ext>
                  </a:extLst>
                </a:gridCol>
                <a:gridCol w="3308455">
                  <a:extLst>
                    <a:ext uri="{9D8B030D-6E8A-4147-A177-3AD203B41FA5}">
                      <a16:colId xmlns:a16="http://schemas.microsoft.com/office/drawing/2014/main" val="3694263824"/>
                    </a:ext>
                  </a:extLst>
                </a:gridCol>
              </a:tblGrid>
              <a:tr h="404116">
                <a:tc>
                  <a:txBody>
                    <a:bodyPr/>
                    <a:lstStyle/>
                    <a:p>
                      <a:pPr algn="ctr"/>
                      <a:r>
                        <a:rPr lang="en-US" sz="1200" b="1" noProof="0">
                          <a:solidFill>
                            <a:schemeClr val="bg1"/>
                          </a:solidFill>
                          <a:latin typeface="Arial" panose="020B0604020202020204" pitchFamily="34" charset="0"/>
                          <a:cs typeface="Arial" panose="020B0604020202020204" pitchFamily="34" charset="0"/>
                        </a:rPr>
                        <a:t>Channel</a:t>
                      </a:r>
                      <a:endParaRPr lang="en-US" sz="1200" noProof="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r>
                        <a:rPr lang="en-US" sz="1200" b="1" noProof="0">
                          <a:solidFill>
                            <a:schemeClr val="bg1"/>
                          </a:solidFill>
                          <a:latin typeface="Arial" panose="020B0604020202020204" pitchFamily="34" charset="0"/>
                          <a:cs typeface="Arial" panose="020B0604020202020204" pitchFamily="34" charset="0"/>
                        </a:rPr>
                        <a:t>Execution Strategy</a:t>
                      </a:r>
                      <a:endParaRPr lang="en-US" sz="1200" noProof="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706828304"/>
                  </a:ext>
                </a:extLst>
              </a:tr>
              <a:tr h="614998">
                <a:tc>
                  <a:txBody>
                    <a:bodyPr/>
                    <a:lstStyle/>
                    <a:p>
                      <a:r>
                        <a:rPr lang="en-US" sz="1100" b="1" noProof="0">
                          <a:latin typeface="Arial" panose="020B0604020202020204" pitchFamily="34" charset="0"/>
                          <a:cs typeface="Arial" panose="020B0604020202020204" pitchFamily="34" charset="0"/>
                        </a:rPr>
                        <a:t>LinkedIn (sponsored content)</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tc>
                  <a:txBody>
                    <a:bodyPr/>
                    <a:lstStyle/>
                    <a:p>
                      <a:r>
                        <a:rPr lang="en-US" sz="1100" noProof="0">
                          <a:latin typeface="Arial" panose="020B0604020202020204" pitchFamily="34" charset="0"/>
                          <a:cs typeface="Arial" panose="020B0604020202020204" pitchFamily="34" charset="0"/>
                        </a:rPr>
                        <a:t>Target </a:t>
                      </a:r>
                      <a:r>
                        <a:rPr lang="en-US" sz="1100" noProof="0" err="1">
                          <a:latin typeface="Arial" panose="020B0604020202020204" pitchFamily="34" charset="0"/>
                          <a:cs typeface="Arial" panose="020B0604020202020204" pitchFamily="34" charset="0"/>
                        </a:rPr>
                        <a:t>hyperscaler</a:t>
                      </a:r>
                      <a:r>
                        <a:rPr lang="en-US" sz="1100" noProof="0">
                          <a:latin typeface="Arial" panose="020B0604020202020204" pitchFamily="34" charset="0"/>
                          <a:cs typeface="Arial" panose="020B0604020202020204" pitchFamily="34" charset="0"/>
                        </a:rPr>
                        <a:t> execs, site leads, energy infrastructure plann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3823745844"/>
                  </a:ext>
                </a:extLst>
              </a:tr>
              <a:tr h="614998">
                <a:tc>
                  <a:txBody>
                    <a:bodyPr/>
                    <a:lstStyle/>
                    <a:p>
                      <a:r>
                        <a:rPr lang="en-US" sz="1100" b="1" noProof="0">
                          <a:latin typeface="Arial" panose="020B0604020202020204" pitchFamily="34" charset="0"/>
                          <a:cs typeface="Arial" panose="020B0604020202020204" pitchFamily="34" charset="0"/>
                        </a:rPr>
                        <a:t>Data Center Trade Shows</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noProof="0">
                          <a:latin typeface="Arial" panose="020B0604020202020204" pitchFamily="34" charset="0"/>
                          <a:cs typeface="Arial" panose="020B0604020202020204" pitchFamily="34" charset="0"/>
                        </a:rPr>
                        <a:t>DCD, Data Center World, Bisnow – poster, pitch deck, booth collater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41684464"/>
                  </a:ext>
                </a:extLst>
              </a:tr>
              <a:tr h="614998">
                <a:tc>
                  <a:txBody>
                    <a:bodyPr/>
                    <a:lstStyle/>
                    <a:p>
                      <a:r>
                        <a:rPr lang="en-US" sz="1100" b="1" noProof="0">
                          <a:latin typeface="Arial" panose="020B0604020202020204" pitchFamily="34" charset="0"/>
                          <a:cs typeface="Arial" panose="020B0604020202020204" pitchFamily="34" charset="0"/>
                        </a:rPr>
                        <a:t>Digital Media / Banner Ads</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tc>
                  <a:txBody>
                    <a:bodyPr/>
                    <a:lstStyle/>
                    <a:p>
                      <a:r>
                        <a:rPr lang="en-US" sz="1100" noProof="0">
                          <a:latin typeface="Arial" panose="020B0604020202020204" pitchFamily="34" charset="0"/>
                          <a:cs typeface="Arial" panose="020B0604020202020204" pitchFamily="34" charset="0"/>
                        </a:rPr>
                        <a:t>Placements in Data Center Frontier, Uptime Institute, TechCrunch Infrastruc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2903896612"/>
                  </a:ext>
                </a:extLst>
              </a:tr>
              <a:tr h="614998">
                <a:tc>
                  <a:txBody>
                    <a:bodyPr/>
                    <a:lstStyle/>
                    <a:p>
                      <a:r>
                        <a:rPr lang="en-US" sz="1100" b="1" noProof="0">
                          <a:latin typeface="Arial" panose="020B0604020202020204" pitchFamily="34" charset="0"/>
                          <a:cs typeface="Arial" panose="020B0604020202020204" pitchFamily="34" charset="0"/>
                        </a:rPr>
                        <a:t>B2B Microsite</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noProof="0">
                          <a:latin typeface="Arial" panose="020B0604020202020204" pitchFamily="34" charset="0"/>
                          <a:cs typeface="Arial" panose="020B0604020202020204" pitchFamily="34" charset="0"/>
                        </a:rPr>
                        <a:t>pghhyperscale.com → GIS maps, rate calculator, site specs, ROI simulato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26105002"/>
                  </a:ext>
                </a:extLst>
              </a:tr>
              <a:tr h="788459">
                <a:tc>
                  <a:txBody>
                    <a:bodyPr/>
                    <a:lstStyle/>
                    <a:p>
                      <a:r>
                        <a:rPr lang="en-US" sz="1100" b="1" noProof="0">
                          <a:latin typeface="Arial" panose="020B0604020202020204" pitchFamily="34" charset="0"/>
                          <a:cs typeface="Arial" panose="020B0604020202020204" pitchFamily="34" charset="0"/>
                        </a:rPr>
                        <a:t>Direct Outreach</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tc>
                  <a:txBody>
                    <a:bodyPr/>
                    <a:lstStyle/>
                    <a:p>
                      <a:r>
                        <a:rPr lang="en-US" sz="1100" noProof="0">
                          <a:latin typeface="Arial" panose="020B0604020202020204" pitchFamily="34" charset="0"/>
                          <a:cs typeface="Arial" panose="020B0604020202020204" pitchFamily="34" charset="0"/>
                        </a:rPr>
                        <a:t>Custom pitch decks and case studies for AWS, Meta, Google – use lead time + rate edg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2921772915"/>
                  </a:ext>
                </a:extLst>
              </a:tr>
              <a:tr h="788459">
                <a:tc>
                  <a:txBody>
                    <a:bodyPr/>
                    <a:lstStyle/>
                    <a:p>
                      <a:r>
                        <a:rPr lang="en-US" sz="1100" b="1" noProof="0">
                          <a:latin typeface="Arial" panose="020B0604020202020204" pitchFamily="34" charset="0"/>
                          <a:cs typeface="Arial" panose="020B0604020202020204" pitchFamily="34" charset="0"/>
                        </a:rPr>
                        <a:t>Local Ecosystem Events</a:t>
                      </a:r>
                      <a:endParaRPr lang="en-US" sz="1100" noProof="0">
                        <a:latin typeface="Arial" panose="020B0604020202020204" pitchFamily="34" charset="0"/>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noProof="0">
                          <a:latin typeface="Arial" panose="020B0604020202020204" pitchFamily="34" charset="0"/>
                          <a:cs typeface="Arial" panose="020B0604020202020204" pitchFamily="34" charset="0"/>
                        </a:rPr>
                        <a:t>Host a “Pittsburgh Data Center Summit” with PEDA, DCED, tech firms, and energy partn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2885543"/>
                  </a:ext>
                </a:extLst>
              </a:tr>
            </a:tbl>
          </a:graphicData>
        </a:graphic>
      </p:graphicFrame>
      <p:graphicFrame>
        <p:nvGraphicFramePr>
          <p:cNvPr id="2" name="Diagram 1">
            <a:extLst>
              <a:ext uri="{FF2B5EF4-FFF2-40B4-BE49-F238E27FC236}">
                <a16:creationId xmlns:a16="http://schemas.microsoft.com/office/drawing/2014/main" id="{91760CEB-A4C7-4377-BA1C-BEE1469EBD6F}"/>
              </a:ext>
            </a:extLst>
          </p:cNvPr>
          <p:cNvGraphicFramePr/>
          <p:nvPr>
            <p:extLst>
              <p:ext uri="{D42A27DB-BD31-4B8C-83A1-F6EECF244321}">
                <p14:modId xmlns:p14="http://schemas.microsoft.com/office/powerpoint/2010/main" val="4237066318"/>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A close-up of blue text&#10;&#10;AI-generated content may be incorrect.">
            <a:extLst>
              <a:ext uri="{FF2B5EF4-FFF2-40B4-BE49-F238E27FC236}">
                <a16:creationId xmlns:a16="http://schemas.microsoft.com/office/drawing/2014/main" id="{D38FBAC3-BBF9-BA09-C74F-100F4EEDF9BC}"/>
              </a:ext>
            </a:extLst>
          </p:cNvPr>
          <p:cNvPicPr>
            <a:picLocks noChangeAspect="1"/>
          </p:cNvPicPr>
          <p:nvPr/>
        </p:nvPicPr>
        <p:blipFill>
          <a:blip r:embed="rId7"/>
          <a:stretch>
            <a:fillRect/>
          </a:stretch>
        </p:blipFill>
        <p:spPr>
          <a:xfrm>
            <a:off x="7801586" y="5979638"/>
            <a:ext cx="4666600" cy="1120163"/>
          </a:xfrm>
          <a:prstGeom prst="rect">
            <a:avLst/>
          </a:prstGeom>
        </p:spPr>
      </p:pic>
      <p:sp>
        <p:nvSpPr>
          <p:cNvPr id="4" name="Slide Number Placeholder 23">
            <a:extLst>
              <a:ext uri="{FF2B5EF4-FFF2-40B4-BE49-F238E27FC236}">
                <a16:creationId xmlns:a16="http://schemas.microsoft.com/office/drawing/2014/main" id="{10F380F5-264A-F97F-828E-D3CFDB1BD286}"/>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6</a:t>
            </a:fld>
            <a:endParaRPr lang="en-US" b="1" noProof="0">
              <a:solidFill>
                <a:schemeClr val="accent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AD7B549E-E82A-293E-7084-2C3F2A492E6F}"/>
              </a:ext>
            </a:extLst>
          </p:cNvPr>
          <p:cNvSpPr txBox="1"/>
          <p:nvPr/>
        </p:nvSpPr>
        <p:spPr>
          <a:xfrm>
            <a:off x="6589459" y="5632546"/>
            <a:ext cx="473576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a:latin typeface="Arial" panose="020B0604020202020204" pitchFamily="34" charset="0"/>
                <a:ea typeface="Calibri"/>
                <a:cs typeface="Arial" panose="020B0604020202020204" pitchFamily="34" charset="0"/>
              </a:rPr>
              <a:t>Examples in Appendix: Peoples Natural Gas flyers</a:t>
            </a:r>
          </a:p>
        </p:txBody>
      </p:sp>
      <p:sp>
        <p:nvSpPr>
          <p:cNvPr id="7" name="Text Placeholder 1">
            <a:extLst>
              <a:ext uri="{FF2B5EF4-FFF2-40B4-BE49-F238E27FC236}">
                <a16:creationId xmlns:a16="http://schemas.microsoft.com/office/drawing/2014/main" id="{CC6889E6-E8EB-5FE3-11DA-7550E5A5844F}"/>
              </a:ext>
            </a:extLst>
          </p:cNvPr>
          <p:cNvSpPr txBox="1">
            <a:spLocks/>
          </p:cNvSpPr>
          <p:nvPr/>
        </p:nvSpPr>
        <p:spPr>
          <a:xfrm>
            <a:off x="480877" y="193027"/>
            <a:ext cx="1125506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Marketing Campaign</a:t>
            </a:r>
          </a:p>
        </p:txBody>
      </p:sp>
      <p:sp>
        <p:nvSpPr>
          <p:cNvPr id="11" name="Rectangle 10">
            <a:extLst>
              <a:ext uri="{FF2B5EF4-FFF2-40B4-BE49-F238E27FC236}">
                <a16:creationId xmlns:a16="http://schemas.microsoft.com/office/drawing/2014/main" id="{09C46A7E-F836-E370-5A31-BA5B5138BDD5}"/>
              </a:ext>
            </a:extLst>
          </p:cNvPr>
          <p:cNvSpPr/>
          <p:nvPr/>
        </p:nvSpPr>
        <p:spPr>
          <a:xfrm>
            <a:off x="480875" y="1168855"/>
            <a:ext cx="5853252" cy="368260"/>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solidFill>
                <a:latin typeface="Arial" panose="020B0604020202020204" pitchFamily="34" charset="0"/>
                <a:cs typeface="Arial" panose="020B0604020202020204" pitchFamily="34" charset="0"/>
              </a:rPr>
              <a:t>Campaign Objective</a:t>
            </a:r>
            <a:endParaRPr lang="en-US" sz="1200" b="1" noProof="0">
              <a:solidFill>
                <a:schemeClr val="accent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5FD31DD-7C69-43D1-5A0F-ABB8537470C0}"/>
              </a:ext>
            </a:extLst>
          </p:cNvPr>
          <p:cNvSpPr/>
          <p:nvPr/>
        </p:nvSpPr>
        <p:spPr>
          <a:xfrm>
            <a:off x="480873" y="2568249"/>
            <a:ext cx="5853252" cy="368259"/>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solidFill>
                <a:latin typeface="Arial" panose="020B0604020202020204" pitchFamily="34" charset="0"/>
                <a:cs typeface="Arial" panose="020B0604020202020204" pitchFamily="34" charset="0"/>
              </a:rPr>
              <a:t>Core Messaging</a:t>
            </a:r>
            <a:endParaRPr lang="en-US" sz="1200" b="1" noProof="0">
              <a:solidFill>
                <a:schemeClr val="accent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97C7146B-32B8-30DC-2363-363F8E39A488}"/>
              </a:ext>
            </a:extLst>
          </p:cNvPr>
          <p:cNvSpPr/>
          <p:nvPr/>
        </p:nvSpPr>
        <p:spPr>
          <a:xfrm>
            <a:off x="480873" y="3047619"/>
            <a:ext cx="5853252" cy="1344905"/>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solidFill>
                <a:latin typeface="Arial" panose="020B0604020202020204" pitchFamily="34" charset="0"/>
                <a:cs typeface="Arial" panose="020B0604020202020204" pitchFamily="34" charset="0"/>
              </a:rPr>
              <a:t>Why Peoples Gas?</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65.08/MWh behind-the-meter power—lower and more stable than Dominion or West Penn</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Custom natural gas co-gen (CHP) at the site → no grid dependency</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Transparent rate structure with optimization options (O&amp;M, fuel contracts)</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Eligible for IRA tax incentives (e.g., hydrogen, RNG, CHP)</a:t>
            </a:r>
          </a:p>
        </p:txBody>
      </p:sp>
      <p:sp>
        <p:nvSpPr>
          <p:cNvPr id="15" name="Rectangle 14">
            <a:extLst>
              <a:ext uri="{FF2B5EF4-FFF2-40B4-BE49-F238E27FC236}">
                <a16:creationId xmlns:a16="http://schemas.microsoft.com/office/drawing/2014/main" id="{4EE7988D-07AE-D23F-713C-9C58E23A3A00}"/>
              </a:ext>
            </a:extLst>
          </p:cNvPr>
          <p:cNvSpPr/>
          <p:nvPr/>
        </p:nvSpPr>
        <p:spPr>
          <a:xfrm>
            <a:off x="480873" y="4503636"/>
            <a:ext cx="5853252" cy="1128910"/>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solidFill>
                <a:latin typeface="Arial" panose="020B0604020202020204" pitchFamily="34" charset="0"/>
                <a:cs typeface="Arial" panose="020B0604020202020204" pitchFamily="34" charset="0"/>
              </a:rPr>
              <a:t>What does Peoples Gas Provide?</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End-to-end energy infrastructure support: pipelines, turbines, site coordination</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Access to former coal plant campuses (e.g., Mitchell) with 345kV tie-ins (c)</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Co-development model with data centers for tailored energy + land package</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Regulatory flexibility and project modeling for long-term cost control</a:t>
            </a:r>
          </a:p>
        </p:txBody>
      </p:sp>
      <p:sp>
        <p:nvSpPr>
          <p:cNvPr id="16" name="Rectangle 15">
            <a:extLst>
              <a:ext uri="{FF2B5EF4-FFF2-40B4-BE49-F238E27FC236}">
                <a16:creationId xmlns:a16="http://schemas.microsoft.com/office/drawing/2014/main" id="{9AC95489-EF5B-C763-6C36-367FFFAD7EA6}"/>
              </a:ext>
            </a:extLst>
          </p:cNvPr>
          <p:cNvSpPr/>
          <p:nvPr/>
        </p:nvSpPr>
        <p:spPr>
          <a:xfrm>
            <a:off x="480873" y="1631412"/>
            <a:ext cx="5853252" cy="61606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1"/>
                </a:solidFill>
                <a:latin typeface="Arial" panose="020B0604020202020204" pitchFamily="34" charset="0"/>
                <a:cs typeface="Arial" panose="020B0604020202020204" pitchFamily="34" charset="0"/>
              </a:rPr>
              <a:t>Position Peoples Gas as the preferred energy partner for hyperscale and enterprise data centers seeking low-cost, resilient, and ESG-aligned power solutions—with Pittsburgh as the ideal expansion hub.</a:t>
            </a:r>
          </a:p>
        </p:txBody>
      </p:sp>
    </p:spTree>
    <p:extLst>
      <p:ext uri="{BB962C8B-B14F-4D97-AF65-F5344CB8AC3E}">
        <p14:creationId xmlns:p14="http://schemas.microsoft.com/office/powerpoint/2010/main" val="3521687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4" grpId="0" animBg="1"/>
      <p:bldP spid="15" grpId="0" animBg="1"/>
      <p:bldP spid="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EEA89-4ABB-93A8-2781-CBA9745C0142}"/>
            </a:ext>
          </a:extLst>
        </p:cNvPr>
        <p:cNvGrpSpPr/>
        <p:nvPr/>
      </p:nvGrpSpPr>
      <p:grpSpPr>
        <a:xfrm>
          <a:off x="0" y="0"/>
          <a:ext cx="0" cy="0"/>
          <a:chOff x="0" y="0"/>
          <a:chExt cx="0" cy="0"/>
        </a:xfrm>
      </p:grpSpPr>
      <p:sp>
        <p:nvSpPr>
          <p:cNvPr id="27" name="Arrow: Pentagon 26">
            <a:extLst>
              <a:ext uri="{FF2B5EF4-FFF2-40B4-BE49-F238E27FC236}">
                <a16:creationId xmlns:a16="http://schemas.microsoft.com/office/drawing/2014/main" id="{1B81EB66-CAA6-7571-14A5-F3373515A91F}"/>
              </a:ext>
            </a:extLst>
          </p:cNvPr>
          <p:cNvSpPr/>
          <p:nvPr/>
        </p:nvSpPr>
        <p:spPr>
          <a:xfrm>
            <a:off x="1521296" y="1247559"/>
            <a:ext cx="10202617" cy="914399"/>
          </a:xfrm>
          <a:prstGeom prst="homePlat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Pentagon 27">
            <a:extLst>
              <a:ext uri="{FF2B5EF4-FFF2-40B4-BE49-F238E27FC236}">
                <a16:creationId xmlns:a16="http://schemas.microsoft.com/office/drawing/2014/main" id="{05C74383-8A16-D14C-6089-52FDB5B8C368}"/>
              </a:ext>
            </a:extLst>
          </p:cNvPr>
          <p:cNvSpPr/>
          <p:nvPr/>
        </p:nvSpPr>
        <p:spPr>
          <a:xfrm>
            <a:off x="1521296" y="2527684"/>
            <a:ext cx="10202617" cy="914399"/>
          </a:xfrm>
          <a:prstGeom prst="homePlat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row: Pentagon 28">
            <a:extLst>
              <a:ext uri="{FF2B5EF4-FFF2-40B4-BE49-F238E27FC236}">
                <a16:creationId xmlns:a16="http://schemas.microsoft.com/office/drawing/2014/main" id="{0BDE2E58-AD4C-2CD4-AA8E-D6E9622AA0AA}"/>
              </a:ext>
            </a:extLst>
          </p:cNvPr>
          <p:cNvSpPr/>
          <p:nvPr/>
        </p:nvSpPr>
        <p:spPr>
          <a:xfrm>
            <a:off x="1518006" y="3800113"/>
            <a:ext cx="10202617" cy="914399"/>
          </a:xfrm>
          <a:prstGeom prst="homePlat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Arrow: Pentagon 60">
            <a:extLst>
              <a:ext uri="{FF2B5EF4-FFF2-40B4-BE49-F238E27FC236}">
                <a16:creationId xmlns:a16="http://schemas.microsoft.com/office/drawing/2014/main" id="{520CF40D-5E49-EC94-547B-5A3FD2FD4149}"/>
              </a:ext>
            </a:extLst>
          </p:cNvPr>
          <p:cNvSpPr/>
          <p:nvPr/>
        </p:nvSpPr>
        <p:spPr>
          <a:xfrm>
            <a:off x="1518006" y="5124688"/>
            <a:ext cx="10202617" cy="844696"/>
          </a:xfrm>
          <a:prstGeom prst="homePlate">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AAF1234-3BB4-8632-04CC-187E7808680E}"/>
              </a:ext>
            </a:extLst>
          </p:cNvPr>
          <p:cNvSpPr>
            <a:spLocks noGrp="1"/>
          </p:cNvSpPr>
          <p:nvPr>
            <p:ph type="body" sz="quarter" idx="15"/>
          </p:nvPr>
        </p:nvSpPr>
        <p:spPr>
          <a:xfrm>
            <a:off x="670850" y="109076"/>
            <a:ext cx="7251624" cy="679412"/>
          </a:xfrm>
        </p:spPr>
        <p:txBody>
          <a:bodyPr>
            <a:noAutofit/>
          </a:bodyPr>
          <a:lstStyle/>
          <a:p>
            <a:pPr>
              <a:lnSpc>
                <a:spcPct val="100000"/>
              </a:lnSpc>
            </a:pPr>
            <a:r>
              <a:rPr lang="en-US" sz="3200"/>
              <a:t>Recommendations and Next steps</a:t>
            </a:r>
          </a:p>
        </p:txBody>
      </p:sp>
      <p:sp>
        <p:nvSpPr>
          <p:cNvPr id="4" name="Rectangle 3">
            <a:extLst>
              <a:ext uri="{FF2B5EF4-FFF2-40B4-BE49-F238E27FC236}">
                <a16:creationId xmlns:a16="http://schemas.microsoft.com/office/drawing/2014/main" id="{36FA7053-AB29-2AD2-0426-08FC77A898B7}"/>
              </a:ext>
            </a:extLst>
          </p:cNvPr>
          <p:cNvSpPr/>
          <p:nvPr/>
        </p:nvSpPr>
        <p:spPr>
          <a:xfrm>
            <a:off x="940837" y="1034211"/>
            <a:ext cx="2593983" cy="9144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a:solidFill>
                  <a:schemeClr val="accent1"/>
                </a:solidFill>
                <a:latin typeface="Arial" panose="020B0604020202020204" pitchFamily="34" charset="0"/>
                <a:ea typeface="Open Sans" panose="020B0606030504020204" pitchFamily="34" charset="0"/>
                <a:cs typeface="Arial" panose="020B0604020202020204" pitchFamily="34" charset="0"/>
              </a:rPr>
              <a:t>Develop a Pittsburgh Hyperscale Playbook</a:t>
            </a:r>
          </a:p>
        </p:txBody>
      </p:sp>
      <p:sp>
        <p:nvSpPr>
          <p:cNvPr id="18" name="Rectangle 17">
            <a:extLst>
              <a:ext uri="{FF2B5EF4-FFF2-40B4-BE49-F238E27FC236}">
                <a16:creationId xmlns:a16="http://schemas.microsoft.com/office/drawing/2014/main" id="{91EADCB6-7738-AD3E-AF3F-47DC3919F8D9}"/>
              </a:ext>
            </a:extLst>
          </p:cNvPr>
          <p:cNvSpPr/>
          <p:nvPr/>
        </p:nvSpPr>
        <p:spPr>
          <a:xfrm>
            <a:off x="940838" y="2301163"/>
            <a:ext cx="2593983" cy="9144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a:solidFill>
                  <a:schemeClr val="accent1"/>
                </a:solidFill>
                <a:latin typeface="Arial" panose="020B0604020202020204" pitchFamily="34" charset="0"/>
                <a:ea typeface="Open Sans" panose="020B0606030504020204" pitchFamily="34" charset="0"/>
                <a:cs typeface="Arial" panose="020B0604020202020204" pitchFamily="34" charset="0"/>
              </a:rPr>
              <a:t>Repurpose Retired Coal Sites as Power-Ready Campuses</a:t>
            </a:r>
          </a:p>
        </p:txBody>
      </p:sp>
      <p:sp>
        <p:nvSpPr>
          <p:cNvPr id="19" name="Rectangle 18">
            <a:extLst>
              <a:ext uri="{FF2B5EF4-FFF2-40B4-BE49-F238E27FC236}">
                <a16:creationId xmlns:a16="http://schemas.microsoft.com/office/drawing/2014/main" id="{6D906074-CA93-0593-A2C0-282664A6F53C}"/>
              </a:ext>
            </a:extLst>
          </p:cNvPr>
          <p:cNvSpPr/>
          <p:nvPr/>
        </p:nvSpPr>
        <p:spPr>
          <a:xfrm>
            <a:off x="940838" y="3568115"/>
            <a:ext cx="2593983" cy="91440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a:solidFill>
                  <a:schemeClr val="accent1"/>
                </a:solidFill>
                <a:latin typeface="Arial" panose="020B0604020202020204" pitchFamily="34" charset="0"/>
                <a:ea typeface="Open Sans" panose="020B0606030504020204" pitchFamily="34" charset="0"/>
                <a:cs typeface="Arial" panose="020B0604020202020204" pitchFamily="34" charset="0"/>
              </a:rPr>
              <a:t>Advocate for Data Center Incentives</a:t>
            </a:r>
          </a:p>
        </p:txBody>
      </p:sp>
      <p:sp>
        <p:nvSpPr>
          <p:cNvPr id="26" name="Rectangle 25">
            <a:extLst>
              <a:ext uri="{FF2B5EF4-FFF2-40B4-BE49-F238E27FC236}">
                <a16:creationId xmlns:a16="http://schemas.microsoft.com/office/drawing/2014/main" id="{10CBDADC-AC14-3231-F650-704220291FE0}"/>
              </a:ext>
            </a:extLst>
          </p:cNvPr>
          <p:cNvSpPr/>
          <p:nvPr/>
        </p:nvSpPr>
        <p:spPr>
          <a:xfrm>
            <a:off x="940837" y="4835067"/>
            <a:ext cx="2593983" cy="914400"/>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a:solidFill>
                  <a:schemeClr val="accent1"/>
                </a:solidFill>
                <a:latin typeface="Arial" panose="020B0604020202020204" pitchFamily="34" charset="0"/>
                <a:ea typeface="Open Sans" panose="020B0606030504020204" pitchFamily="34" charset="0"/>
                <a:cs typeface="Arial" panose="020B0604020202020204" pitchFamily="34" charset="0"/>
              </a:rPr>
              <a:t>Leverage Pittsburgh’s Talent &amp; Innovation Ecosystem</a:t>
            </a:r>
          </a:p>
        </p:txBody>
      </p:sp>
      <p:sp>
        <p:nvSpPr>
          <p:cNvPr id="62" name="Right Triangle 61">
            <a:extLst>
              <a:ext uri="{FF2B5EF4-FFF2-40B4-BE49-F238E27FC236}">
                <a16:creationId xmlns:a16="http://schemas.microsoft.com/office/drawing/2014/main" id="{951F2255-6125-EA93-F3B4-74A6F6065C39}"/>
              </a:ext>
            </a:extLst>
          </p:cNvPr>
          <p:cNvSpPr/>
          <p:nvPr/>
        </p:nvSpPr>
        <p:spPr>
          <a:xfrm rot="10800000" flipH="1">
            <a:off x="1518006" y="1943133"/>
            <a:ext cx="2016814" cy="218824"/>
          </a:xfrm>
          <a:prstGeom prst="r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ight Triangle 73">
            <a:extLst>
              <a:ext uri="{FF2B5EF4-FFF2-40B4-BE49-F238E27FC236}">
                <a16:creationId xmlns:a16="http://schemas.microsoft.com/office/drawing/2014/main" id="{A8B808EF-CC10-8170-B745-2DCC677D8587}"/>
              </a:ext>
            </a:extLst>
          </p:cNvPr>
          <p:cNvSpPr/>
          <p:nvPr/>
        </p:nvSpPr>
        <p:spPr>
          <a:xfrm rot="10800000" flipH="1">
            <a:off x="1518006" y="3215563"/>
            <a:ext cx="2016814" cy="218824"/>
          </a:xfrm>
          <a:prstGeom prst="r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ight Triangle 74">
            <a:extLst>
              <a:ext uri="{FF2B5EF4-FFF2-40B4-BE49-F238E27FC236}">
                <a16:creationId xmlns:a16="http://schemas.microsoft.com/office/drawing/2014/main" id="{A1558708-30F7-DA79-BC22-234DB8AC4DAF}"/>
              </a:ext>
            </a:extLst>
          </p:cNvPr>
          <p:cNvSpPr/>
          <p:nvPr/>
        </p:nvSpPr>
        <p:spPr>
          <a:xfrm rot="10800000" flipH="1">
            <a:off x="1518006" y="4489101"/>
            <a:ext cx="2016814" cy="218824"/>
          </a:xfrm>
          <a:prstGeom prst="rtTriangle">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ight Triangle 75">
            <a:extLst>
              <a:ext uri="{FF2B5EF4-FFF2-40B4-BE49-F238E27FC236}">
                <a16:creationId xmlns:a16="http://schemas.microsoft.com/office/drawing/2014/main" id="{AEEA1B93-CAAB-82DA-927A-FB260462FB16}"/>
              </a:ext>
            </a:extLst>
          </p:cNvPr>
          <p:cNvSpPr/>
          <p:nvPr/>
        </p:nvSpPr>
        <p:spPr>
          <a:xfrm rot="10800000" flipH="1">
            <a:off x="1518005" y="5750559"/>
            <a:ext cx="2016814" cy="218824"/>
          </a:xfrm>
          <a:prstGeom prst="rtTriangle">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934F18DE-0F03-C5E7-CE55-E9C31112E98A}"/>
              </a:ext>
            </a:extLst>
          </p:cNvPr>
          <p:cNvSpPr txBox="1"/>
          <p:nvPr/>
        </p:nvSpPr>
        <p:spPr>
          <a:xfrm>
            <a:off x="3688773" y="1314435"/>
            <a:ext cx="7353921" cy="830997"/>
          </a:xfrm>
          <a:prstGeom prst="rect">
            <a:avLst/>
          </a:prstGeom>
          <a:noFill/>
        </p:spPr>
        <p:txBody>
          <a:bodyPr wrap="square">
            <a:spAutoFit/>
          </a:bodyPr>
          <a:lstStyle/>
          <a:p>
            <a:r>
              <a:rPr lang="en-US" sz="1200">
                <a:solidFill>
                  <a:schemeClr val="accent1"/>
                </a:solidFill>
                <a:latin typeface="Arial" panose="020B0604020202020204" pitchFamily="34" charset="0"/>
                <a:cs typeface="Arial" panose="020B0604020202020204" pitchFamily="34" charset="0"/>
              </a:rPr>
              <a:t>Develop a Pittsburgh hyperscale playbook by creating a clear, strategic internal and external guide  —featuring rate comparisons, co-generation options, coal sites redevelopment, and infrastructure overlays — to help Peoples Gas present a unified, market-ready value proposition to hyperscalers and accelerate business development.</a:t>
            </a:r>
          </a:p>
        </p:txBody>
      </p:sp>
      <p:sp>
        <p:nvSpPr>
          <p:cNvPr id="85" name="Slide Number Placeholder 23">
            <a:extLst>
              <a:ext uri="{FF2B5EF4-FFF2-40B4-BE49-F238E27FC236}">
                <a16:creationId xmlns:a16="http://schemas.microsoft.com/office/drawing/2014/main" id="{238A4424-CBA4-21C1-F071-023600B0625A}"/>
              </a:ext>
            </a:extLst>
          </p:cNvPr>
          <p:cNvSpPr txBox="1">
            <a:spLocks/>
          </p:cNvSpPr>
          <p:nvPr/>
        </p:nvSpPr>
        <p:spPr>
          <a:xfrm>
            <a:off x="11736020" y="6500213"/>
            <a:ext cx="45598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smtClean="0">
                <a:solidFill>
                  <a:schemeClr val="accent1"/>
                </a:solidFill>
                <a:latin typeface="Arial" panose="020B0604020202020204" pitchFamily="34" charset="0"/>
                <a:cs typeface="Arial" panose="020B0604020202020204" pitchFamily="34" charset="0"/>
              </a:rPr>
              <a:pPr/>
              <a:t>17</a:t>
            </a:fld>
            <a:endParaRPr lang="en-US" b="1">
              <a:solidFill>
                <a:schemeClr val="accent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B37CA14-6591-F03F-BB5C-7E19E53C5D4B}"/>
              </a:ext>
            </a:extLst>
          </p:cNvPr>
          <p:cNvSpPr txBox="1"/>
          <p:nvPr/>
        </p:nvSpPr>
        <p:spPr>
          <a:xfrm>
            <a:off x="3688773" y="2571422"/>
            <a:ext cx="7353921" cy="830997"/>
          </a:xfrm>
          <a:prstGeom prst="rect">
            <a:avLst/>
          </a:prstGeom>
          <a:noFill/>
        </p:spPr>
        <p:txBody>
          <a:bodyPr wrap="square">
            <a:spAutoFit/>
          </a:bodyPr>
          <a:lstStyle/>
          <a:p>
            <a:r>
              <a:rPr lang="en-US" sz="1200">
                <a:solidFill>
                  <a:schemeClr val="accent1"/>
                </a:solidFill>
                <a:latin typeface="Arial" panose="020B0604020202020204" pitchFamily="34" charset="0"/>
                <a:cs typeface="Arial" panose="020B0604020202020204" pitchFamily="34" charset="0"/>
              </a:rPr>
              <a:t>Repurpose retired coal Sites as power-ready campuses by identifying high-potential locations like Mitchell and Homer City, leveraging Peoples’ pipeline access and existing grid tie-ins, and partnering with the state to secure EPA grants and tax incentives — transforming underutilized brownfields into revenue-generating, hyperscale-ready energy campuses.</a:t>
            </a:r>
          </a:p>
        </p:txBody>
      </p:sp>
      <p:sp>
        <p:nvSpPr>
          <p:cNvPr id="6" name="TextBox 5">
            <a:extLst>
              <a:ext uri="{FF2B5EF4-FFF2-40B4-BE49-F238E27FC236}">
                <a16:creationId xmlns:a16="http://schemas.microsoft.com/office/drawing/2014/main" id="{29E1779D-E842-C797-BD3F-EE7FDB131A42}"/>
              </a:ext>
            </a:extLst>
          </p:cNvPr>
          <p:cNvSpPr txBox="1"/>
          <p:nvPr/>
        </p:nvSpPr>
        <p:spPr>
          <a:xfrm>
            <a:off x="3688773" y="3807809"/>
            <a:ext cx="7353921" cy="830997"/>
          </a:xfrm>
          <a:prstGeom prst="rect">
            <a:avLst/>
          </a:prstGeom>
          <a:noFill/>
        </p:spPr>
        <p:txBody>
          <a:bodyPr wrap="square">
            <a:spAutoFit/>
          </a:bodyPr>
          <a:lstStyle/>
          <a:p>
            <a:r>
              <a:rPr lang="en-US" sz="1200">
                <a:solidFill>
                  <a:schemeClr val="accent1"/>
                </a:solidFill>
                <a:latin typeface="Arial" panose="020B0604020202020204" pitchFamily="34" charset="0"/>
                <a:cs typeface="Arial" panose="020B0604020202020204" pitchFamily="34" charset="0"/>
              </a:rPr>
              <a:t>Advocate for Data Center incentives by partnering with the Pennsylvania Department of Community and Economic Development (DCED), Pennsylvania Energy Development Authority (PEDA), and local governments to push for Keystone Opportunity Zone (KOZ) eligibility, sales tax exemptions on servers and cooling equipment, and streamlined permitting — strengthening Pittsburgh’s economic competitiveness.</a:t>
            </a:r>
          </a:p>
        </p:txBody>
      </p:sp>
      <p:sp>
        <p:nvSpPr>
          <p:cNvPr id="7" name="TextBox 6">
            <a:extLst>
              <a:ext uri="{FF2B5EF4-FFF2-40B4-BE49-F238E27FC236}">
                <a16:creationId xmlns:a16="http://schemas.microsoft.com/office/drawing/2014/main" id="{456924E5-4BB8-CB84-47C5-46E5252359B3}"/>
              </a:ext>
            </a:extLst>
          </p:cNvPr>
          <p:cNvSpPr txBox="1"/>
          <p:nvPr/>
        </p:nvSpPr>
        <p:spPr>
          <a:xfrm>
            <a:off x="3688772" y="5124688"/>
            <a:ext cx="7353921" cy="830997"/>
          </a:xfrm>
          <a:prstGeom prst="rect">
            <a:avLst/>
          </a:prstGeom>
          <a:noFill/>
        </p:spPr>
        <p:txBody>
          <a:bodyPr wrap="square">
            <a:spAutoFit/>
          </a:bodyPr>
          <a:lstStyle/>
          <a:p>
            <a:r>
              <a:rPr lang="en-US" sz="1200">
                <a:solidFill>
                  <a:schemeClr val="accent1"/>
                </a:solidFill>
                <a:latin typeface="Arial" panose="020B0604020202020204" pitchFamily="34" charset="0"/>
                <a:cs typeface="Arial" panose="020B0604020202020204" pitchFamily="34" charset="0"/>
              </a:rPr>
              <a:t>Leverage Pittsburgh’s talent &amp; innovation ecosystem by promoting access to top-tier cloud, AI, and cybersecurity talent from Carnegie Mellon University and the University of Pittsburgh, while partnering on innovation labs and R&amp;D initiatives to attract hyperscalers and position Peoples Gas as an embedded infrastructure and technology collaborator.</a:t>
            </a:r>
          </a:p>
        </p:txBody>
      </p:sp>
      <p:graphicFrame>
        <p:nvGraphicFramePr>
          <p:cNvPr id="8" name="Diagram 7">
            <a:extLst>
              <a:ext uri="{FF2B5EF4-FFF2-40B4-BE49-F238E27FC236}">
                <a16:creationId xmlns:a16="http://schemas.microsoft.com/office/drawing/2014/main" id="{5EC31CED-CF71-2BA7-CAC4-6F08D55E8F3F}"/>
              </a:ext>
            </a:extLst>
          </p:cNvPr>
          <p:cNvGraphicFramePr/>
          <p:nvPr>
            <p:extLst>
              <p:ext uri="{D42A27DB-BD31-4B8C-83A1-F6EECF244321}">
                <p14:modId xmlns:p14="http://schemas.microsoft.com/office/powerpoint/2010/main" val="891898421"/>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3" name="Picture 22" descr="A close-up of blue text&#10;&#10;AI-generated content may be incorrect.">
            <a:extLst>
              <a:ext uri="{FF2B5EF4-FFF2-40B4-BE49-F238E27FC236}">
                <a16:creationId xmlns:a16="http://schemas.microsoft.com/office/drawing/2014/main" id="{B846C0EB-D291-AB3E-ED25-14B0F5EEB514}"/>
              </a:ext>
            </a:extLst>
          </p:cNvPr>
          <p:cNvPicPr>
            <a:picLocks noChangeAspect="1"/>
          </p:cNvPicPr>
          <p:nvPr/>
        </p:nvPicPr>
        <p:blipFill>
          <a:blip r:embed="rId8"/>
          <a:stretch>
            <a:fillRect/>
          </a:stretch>
        </p:blipFill>
        <p:spPr>
          <a:xfrm>
            <a:off x="7762672" y="5969383"/>
            <a:ext cx="4666600" cy="1120163"/>
          </a:xfrm>
          <a:prstGeom prst="rect">
            <a:avLst/>
          </a:prstGeom>
        </p:spPr>
      </p:pic>
    </p:spTree>
    <p:extLst>
      <p:ext uri="{BB962C8B-B14F-4D97-AF65-F5344CB8AC3E}">
        <p14:creationId xmlns:p14="http://schemas.microsoft.com/office/powerpoint/2010/main" val="2203974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BA045B2-91AB-507D-7F52-06A66352EF80}"/>
              </a:ext>
            </a:extLst>
          </p:cNvPr>
          <p:cNvSpPr>
            <a:spLocks noGrp="1"/>
          </p:cNvSpPr>
          <p:nvPr>
            <p:ph type="body" sz="quarter" idx="15"/>
          </p:nvPr>
        </p:nvSpPr>
        <p:spPr/>
        <p:txBody>
          <a:bodyPr/>
          <a:lstStyle/>
          <a:p>
            <a:r>
              <a:rPr lang="en-US" noProof="0"/>
              <a:t>Appendix</a:t>
            </a:r>
          </a:p>
        </p:txBody>
      </p:sp>
    </p:spTree>
    <p:extLst>
      <p:ext uri="{BB962C8B-B14F-4D97-AF65-F5344CB8AC3E}">
        <p14:creationId xmlns:p14="http://schemas.microsoft.com/office/powerpoint/2010/main" val="36166861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1AC1A-315B-F44B-D6C6-BD8BD660E199}"/>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880E8AFE-8882-827F-4394-5377064AA6FD}"/>
              </a:ext>
            </a:extLst>
          </p:cNvPr>
          <p:cNvSpPr/>
          <p:nvPr/>
        </p:nvSpPr>
        <p:spPr>
          <a:xfrm>
            <a:off x="0" y="279400"/>
            <a:ext cx="277792" cy="65785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 name="Group 10">
            <a:extLst>
              <a:ext uri="{FF2B5EF4-FFF2-40B4-BE49-F238E27FC236}">
                <a16:creationId xmlns:a16="http://schemas.microsoft.com/office/drawing/2014/main" id="{5F5705D2-2D58-F17F-94D5-245CFDD89302}"/>
              </a:ext>
            </a:extLst>
          </p:cNvPr>
          <p:cNvGrpSpPr/>
          <p:nvPr/>
        </p:nvGrpSpPr>
        <p:grpSpPr>
          <a:xfrm>
            <a:off x="0" y="1"/>
            <a:ext cx="277813" cy="276924"/>
            <a:chOff x="0" y="0"/>
            <a:chExt cx="555625" cy="553847"/>
          </a:xfrm>
        </p:grpSpPr>
        <p:sp>
          <p:nvSpPr>
            <p:cNvPr id="13" name="Freeform 11">
              <a:extLst>
                <a:ext uri="{FF2B5EF4-FFF2-40B4-BE49-F238E27FC236}">
                  <a16:creationId xmlns:a16="http://schemas.microsoft.com/office/drawing/2014/main" id="{8A697E32-DCC3-E8D6-4464-B3AC897985F0}"/>
                </a:ext>
              </a:extLst>
            </p:cNvPr>
            <p:cNvSpPr/>
            <p:nvPr/>
          </p:nvSpPr>
          <p:spPr>
            <a:xfrm>
              <a:off x="0" y="0"/>
              <a:ext cx="555625" cy="553847"/>
            </a:xfrm>
            <a:custGeom>
              <a:avLst/>
              <a:gdLst/>
              <a:ahLst/>
              <a:cxnLst/>
              <a:rect l="l" t="t" r="r" b="b"/>
              <a:pathLst>
                <a:path w="555625" h="553847">
                  <a:moveTo>
                    <a:pt x="0" y="0"/>
                  </a:moveTo>
                  <a:lnTo>
                    <a:pt x="555625" y="0"/>
                  </a:lnTo>
                  <a:lnTo>
                    <a:pt x="555625" y="553847"/>
                  </a:lnTo>
                  <a:lnTo>
                    <a:pt x="0" y="553847"/>
                  </a:lnTo>
                  <a:close/>
                </a:path>
              </a:pathLst>
            </a:custGeom>
            <a:solidFill>
              <a:srgbClr val="003493"/>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sp>
        <p:nvSpPr>
          <p:cNvPr id="16" name="Text Placeholder 1">
            <a:extLst>
              <a:ext uri="{FF2B5EF4-FFF2-40B4-BE49-F238E27FC236}">
                <a16:creationId xmlns:a16="http://schemas.microsoft.com/office/drawing/2014/main" id="{43596A5E-93B1-6ABC-1D36-F781C07FA820}"/>
              </a:ext>
            </a:extLst>
          </p:cNvPr>
          <p:cNvSpPr txBox="1">
            <a:spLocks/>
          </p:cNvSpPr>
          <p:nvPr/>
        </p:nvSpPr>
        <p:spPr>
          <a:xfrm>
            <a:off x="668307" y="2436497"/>
            <a:ext cx="979412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4400" b="1" noProof="0">
                <a:solidFill>
                  <a:schemeClr val="accent1"/>
                </a:solidFill>
              </a:rPr>
              <a:t>Appendix Part </a:t>
            </a:r>
            <a:r>
              <a:rPr lang="en-US" sz="4400" b="1">
                <a:solidFill>
                  <a:schemeClr val="accent1"/>
                </a:solidFill>
              </a:rPr>
              <a:t>1</a:t>
            </a:r>
            <a:r>
              <a:rPr lang="en-US" sz="4400" b="1" noProof="0">
                <a:solidFill>
                  <a:schemeClr val="accent1"/>
                </a:solidFill>
              </a:rPr>
              <a:t>: Hydrogen Blending Project</a:t>
            </a:r>
          </a:p>
        </p:txBody>
      </p:sp>
      <p:sp>
        <p:nvSpPr>
          <p:cNvPr id="19" name="Slide Number Placeholder 23">
            <a:extLst>
              <a:ext uri="{FF2B5EF4-FFF2-40B4-BE49-F238E27FC236}">
                <a16:creationId xmlns:a16="http://schemas.microsoft.com/office/drawing/2014/main" id="{49E2B88C-9E39-45A1-F2FB-B37CB3AC1DD2}"/>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19</a:t>
            </a:fld>
            <a:endParaRPr lang="en-US" b="1" noProof="0">
              <a:solidFill>
                <a:schemeClr val="accent1"/>
              </a:solidFill>
              <a:latin typeface="Arial" panose="020B0604020202020204" pitchFamily="34" charset="0"/>
              <a:cs typeface="Arial" panose="020B0604020202020204" pitchFamily="34" charset="0"/>
            </a:endParaRPr>
          </a:p>
        </p:txBody>
      </p:sp>
      <p:pic>
        <p:nvPicPr>
          <p:cNvPr id="2" name="Picture 1" descr="A close-up of blue text&#10;&#10;AI-generated content may be incorrect.">
            <a:extLst>
              <a:ext uri="{FF2B5EF4-FFF2-40B4-BE49-F238E27FC236}">
                <a16:creationId xmlns:a16="http://schemas.microsoft.com/office/drawing/2014/main" id="{C622F4F0-2016-303F-CD28-A2EC291292FA}"/>
              </a:ext>
            </a:extLst>
          </p:cNvPr>
          <p:cNvPicPr>
            <a:picLocks noChangeAspect="1"/>
          </p:cNvPicPr>
          <p:nvPr/>
        </p:nvPicPr>
        <p:blipFill>
          <a:blip r:embed="rId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2511045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B967D11-0B8A-9EA4-5299-FA79C2FD70BD}"/>
              </a:ext>
            </a:extLst>
          </p:cNvPr>
          <p:cNvSpPr txBox="1">
            <a:spLocks/>
          </p:cNvSpPr>
          <p:nvPr/>
        </p:nvSpPr>
        <p:spPr>
          <a:xfrm>
            <a:off x="668308" y="3468080"/>
            <a:ext cx="6786839" cy="2982264"/>
          </a:xfrm>
          <a:prstGeom prst="rect">
            <a:avLst/>
          </a:prstGeom>
        </p:spPr>
        <p:txBody>
          <a:bodyPr>
            <a:norm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2000" noProof="0">
                <a:solidFill>
                  <a:schemeClr val="accent1"/>
                </a:solidFill>
              </a:rPr>
              <a:t>Project Executive Summary</a:t>
            </a:r>
          </a:p>
          <a:p>
            <a:pPr>
              <a:buFont typeface="+mj-lt"/>
              <a:buAutoNum type="arabicPeriod"/>
            </a:pPr>
            <a:r>
              <a:rPr lang="en-US" sz="2000" noProof="0">
                <a:solidFill>
                  <a:schemeClr val="accent1"/>
                </a:solidFill>
              </a:rPr>
              <a:t>Market Research &amp; Technology Overview</a:t>
            </a:r>
          </a:p>
          <a:p>
            <a:pPr>
              <a:buFont typeface="+mj-lt"/>
              <a:buAutoNum type="arabicPeriod"/>
            </a:pPr>
            <a:r>
              <a:rPr lang="en-US" sz="2000" noProof="0">
                <a:solidFill>
                  <a:schemeClr val="accent1"/>
                </a:solidFill>
              </a:rPr>
              <a:t>SWOT Analysis</a:t>
            </a:r>
          </a:p>
          <a:p>
            <a:pPr>
              <a:buFont typeface="+mj-lt"/>
              <a:buAutoNum type="arabicPeriod"/>
            </a:pPr>
            <a:r>
              <a:rPr lang="en-US" sz="2000" noProof="0">
                <a:solidFill>
                  <a:schemeClr val="accent1"/>
                </a:solidFill>
              </a:rPr>
              <a:t>Key Findings</a:t>
            </a:r>
          </a:p>
          <a:p>
            <a:pPr>
              <a:buFont typeface="+mj-lt"/>
              <a:buAutoNum type="arabicPeriod"/>
            </a:pPr>
            <a:r>
              <a:rPr lang="en-US" sz="2000" noProof="0">
                <a:solidFill>
                  <a:schemeClr val="accent1"/>
                </a:solidFill>
              </a:rPr>
              <a:t>Recommendations</a:t>
            </a:r>
          </a:p>
        </p:txBody>
      </p:sp>
      <p:sp>
        <p:nvSpPr>
          <p:cNvPr id="6" name="Rectangle 5">
            <a:extLst>
              <a:ext uri="{FF2B5EF4-FFF2-40B4-BE49-F238E27FC236}">
                <a16:creationId xmlns:a16="http://schemas.microsoft.com/office/drawing/2014/main" id="{E3B7B9BD-0904-86D9-2189-5E615C83F81E}"/>
              </a:ext>
            </a:extLst>
          </p:cNvPr>
          <p:cNvSpPr/>
          <p:nvPr/>
        </p:nvSpPr>
        <p:spPr>
          <a:xfrm>
            <a:off x="0" y="279400"/>
            <a:ext cx="277792" cy="65785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 name="Group 10">
            <a:extLst>
              <a:ext uri="{FF2B5EF4-FFF2-40B4-BE49-F238E27FC236}">
                <a16:creationId xmlns:a16="http://schemas.microsoft.com/office/drawing/2014/main" id="{9982CF81-76B1-F9C9-3EEF-B068F2FCDFDC}"/>
              </a:ext>
            </a:extLst>
          </p:cNvPr>
          <p:cNvGrpSpPr/>
          <p:nvPr/>
        </p:nvGrpSpPr>
        <p:grpSpPr>
          <a:xfrm>
            <a:off x="0" y="1"/>
            <a:ext cx="277813" cy="276924"/>
            <a:chOff x="0" y="0"/>
            <a:chExt cx="555625" cy="553847"/>
          </a:xfrm>
        </p:grpSpPr>
        <p:sp>
          <p:nvSpPr>
            <p:cNvPr id="13" name="Freeform 11">
              <a:extLst>
                <a:ext uri="{FF2B5EF4-FFF2-40B4-BE49-F238E27FC236}">
                  <a16:creationId xmlns:a16="http://schemas.microsoft.com/office/drawing/2014/main" id="{23AD5F02-AEB5-37F0-97ED-7D3139EDB034}"/>
                </a:ext>
              </a:extLst>
            </p:cNvPr>
            <p:cNvSpPr/>
            <p:nvPr/>
          </p:nvSpPr>
          <p:spPr>
            <a:xfrm>
              <a:off x="0" y="0"/>
              <a:ext cx="555625" cy="553847"/>
            </a:xfrm>
            <a:custGeom>
              <a:avLst/>
              <a:gdLst/>
              <a:ahLst/>
              <a:cxnLst/>
              <a:rect l="l" t="t" r="r" b="b"/>
              <a:pathLst>
                <a:path w="555625" h="553847">
                  <a:moveTo>
                    <a:pt x="0" y="0"/>
                  </a:moveTo>
                  <a:lnTo>
                    <a:pt x="555625" y="0"/>
                  </a:lnTo>
                  <a:lnTo>
                    <a:pt x="555625" y="553847"/>
                  </a:lnTo>
                  <a:lnTo>
                    <a:pt x="0" y="553847"/>
                  </a:lnTo>
                  <a:close/>
                </a:path>
              </a:pathLst>
            </a:custGeom>
            <a:solidFill>
              <a:srgbClr val="003493"/>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sp>
        <p:nvSpPr>
          <p:cNvPr id="16" name="Text Placeholder 1">
            <a:extLst>
              <a:ext uri="{FF2B5EF4-FFF2-40B4-BE49-F238E27FC236}">
                <a16:creationId xmlns:a16="http://schemas.microsoft.com/office/drawing/2014/main" id="{B79F34B4-BF68-FA81-8999-06728AB9BF09}"/>
              </a:ext>
            </a:extLst>
          </p:cNvPr>
          <p:cNvSpPr txBox="1">
            <a:spLocks/>
          </p:cNvSpPr>
          <p:nvPr/>
        </p:nvSpPr>
        <p:spPr>
          <a:xfrm>
            <a:off x="668307" y="2436497"/>
            <a:ext cx="979412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4400" b="1" noProof="0">
                <a:solidFill>
                  <a:schemeClr val="accent1"/>
                </a:solidFill>
              </a:rPr>
              <a:t>Part 1: Hydrogen Blending Project</a:t>
            </a:r>
          </a:p>
        </p:txBody>
      </p:sp>
      <p:pic>
        <p:nvPicPr>
          <p:cNvPr id="18" name="Picture 17" descr="A close-up of blue text&#10;&#10;AI-generated content may be incorrect.">
            <a:extLst>
              <a:ext uri="{FF2B5EF4-FFF2-40B4-BE49-F238E27FC236}">
                <a16:creationId xmlns:a16="http://schemas.microsoft.com/office/drawing/2014/main" id="{77A94C10-C1F1-8A92-2785-0A53715B19D9}"/>
              </a:ext>
            </a:extLst>
          </p:cNvPr>
          <p:cNvPicPr>
            <a:picLocks noChangeAspect="1"/>
          </p:cNvPicPr>
          <p:nvPr/>
        </p:nvPicPr>
        <p:blipFill>
          <a:blip r:embed="rId2"/>
          <a:stretch>
            <a:fillRect/>
          </a:stretch>
        </p:blipFill>
        <p:spPr>
          <a:xfrm>
            <a:off x="7801586" y="5890263"/>
            <a:ext cx="4666600" cy="1120163"/>
          </a:xfrm>
          <a:prstGeom prst="rect">
            <a:avLst/>
          </a:prstGeom>
        </p:spPr>
      </p:pic>
      <p:sp>
        <p:nvSpPr>
          <p:cNvPr id="19" name="Slide Number Placeholder 23">
            <a:extLst>
              <a:ext uri="{FF2B5EF4-FFF2-40B4-BE49-F238E27FC236}">
                <a16:creationId xmlns:a16="http://schemas.microsoft.com/office/drawing/2014/main" id="{3A9F5127-6CC0-8461-B50A-451CFC7F5F53}"/>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a:t>
            </a:fld>
            <a:endParaRPr lang="en-US" b="1" noProof="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70639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4C432-512D-F946-7F3B-1272E48528A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974FC10-5D05-BF98-0951-EABD5A9AA0B0}"/>
              </a:ext>
            </a:extLst>
          </p:cNvPr>
          <p:cNvSpPr/>
          <p:nvPr/>
        </p:nvSpPr>
        <p:spPr>
          <a:xfrm>
            <a:off x="670850" y="1287339"/>
            <a:ext cx="11096171" cy="4822371"/>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lnSpc>
                <a:spcPct val="150000"/>
              </a:lnSpc>
              <a:buNone/>
            </a:pPr>
            <a:r>
              <a:rPr lang="en-US" sz="1600" b="1" noProof="0">
                <a:solidFill>
                  <a:schemeClr val="accent1"/>
                </a:solidFill>
                <a:latin typeface="Arial" panose="020B0604020202020204" pitchFamily="34" charset="0"/>
                <a:cs typeface="Arial" panose="020B0604020202020204" pitchFamily="34" charset="0"/>
              </a:rPr>
              <a:t>Launch a Community Hydrogen Blending Pilot</a:t>
            </a:r>
          </a:p>
          <a:p>
            <a:pPr>
              <a:buNone/>
            </a:pPr>
            <a:r>
              <a:rPr lang="en-US" sz="1200" b="1" noProof="0">
                <a:solidFill>
                  <a:schemeClr val="accent1"/>
                </a:solidFill>
                <a:latin typeface="Arial" panose="020B0604020202020204" pitchFamily="34" charset="0"/>
                <a:cs typeface="Arial" panose="020B0604020202020204" pitchFamily="34" charset="0"/>
              </a:rPr>
              <a:t>What</a:t>
            </a:r>
            <a:r>
              <a:rPr lang="en-US" sz="1200" noProof="0">
                <a:solidFill>
                  <a:schemeClr val="accent1"/>
                </a:solidFill>
                <a:latin typeface="Arial" panose="020B0604020202020204" pitchFamily="34" charset="0"/>
                <a:cs typeface="Arial" panose="020B0604020202020204" pitchFamily="34" charset="0"/>
              </a:rPr>
              <a:t>: Implement a phased hydrogen blending pilot (0.1% → 5%) in a residential community (~10,000 people) in Western Pennsylvania.</a:t>
            </a:r>
          </a:p>
          <a:p>
            <a:pPr>
              <a:buNone/>
            </a:pPr>
            <a:endParaRPr lang="en-US" sz="1200"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Specific Actions:</a:t>
            </a:r>
            <a:endParaRPr lang="en-US" sz="1200" noProof="0">
              <a:solidFill>
                <a:schemeClr val="accent1"/>
              </a:solidFill>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Identify target zone</a:t>
            </a:r>
            <a:r>
              <a:rPr lang="en-US" sz="1200" noProof="0">
                <a:solidFill>
                  <a:schemeClr val="accent1"/>
                </a:solidFill>
                <a:latin typeface="Arial" panose="020B0604020202020204" pitchFamily="34" charset="0"/>
                <a:cs typeface="Arial" panose="020B0604020202020204" pitchFamily="34" charset="0"/>
              </a:rPr>
              <a:t> with high PE100-RC or compatible pipeline materials.</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Partner with local fire departments &amp; emergency services</a:t>
            </a:r>
            <a:r>
              <a:rPr lang="en-US" sz="1200" noProof="0">
                <a:solidFill>
                  <a:schemeClr val="accent1"/>
                </a:solidFill>
                <a:latin typeface="Arial" panose="020B0604020202020204" pitchFamily="34" charset="0"/>
                <a:cs typeface="Arial" panose="020B0604020202020204" pitchFamily="34" charset="0"/>
              </a:rPr>
              <a:t> to develop a hydrogen safety protocol and training curriculum.</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Conduct free in-home appliance inspections</a:t>
            </a:r>
            <a:r>
              <a:rPr lang="en-US" sz="1200" noProof="0">
                <a:solidFill>
                  <a:schemeClr val="accent1"/>
                </a:solidFill>
                <a:latin typeface="Arial" panose="020B0604020202020204" pitchFamily="34" charset="0"/>
                <a:cs typeface="Arial" panose="020B0604020202020204" pitchFamily="34" charset="0"/>
              </a:rPr>
              <a:t> to test for blend compatibility.</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Install smart gas meters</a:t>
            </a:r>
            <a:r>
              <a:rPr lang="en-US" sz="1200" noProof="0">
                <a:solidFill>
                  <a:schemeClr val="accent1"/>
                </a:solidFill>
                <a:latin typeface="Arial" panose="020B0604020202020204" pitchFamily="34" charset="0"/>
                <a:cs typeface="Arial" panose="020B0604020202020204" pitchFamily="34" charset="0"/>
              </a:rPr>
              <a:t> to collect granular consumption and pressure data.</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Submit a PUC filing</a:t>
            </a:r>
            <a:r>
              <a:rPr lang="en-US" sz="1200" noProof="0">
                <a:solidFill>
                  <a:schemeClr val="accent1"/>
                </a:solidFill>
                <a:latin typeface="Arial" panose="020B0604020202020204" pitchFamily="34" charset="0"/>
                <a:cs typeface="Arial" panose="020B0604020202020204" pitchFamily="34" charset="0"/>
              </a:rPr>
              <a:t> for a limited-scope pilot exemption or cost recovery test case.</a:t>
            </a:r>
          </a:p>
          <a:p>
            <a:endParaRPr lang="en-US" sz="1200"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y It Is Recommended:</a:t>
            </a:r>
            <a:endParaRPr lang="en-US" sz="1200" noProof="0">
              <a:solidFill>
                <a:schemeClr val="accent1"/>
              </a:solidFill>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Demonstrates safe, real-world feasibility to </a:t>
            </a:r>
            <a:r>
              <a:rPr lang="en-US" sz="1200" b="1" noProof="0">
                <a:solidFill>
                  <a:schemeClr val="accent1"/>
                </a:solidFill>
                <a:latin typeface="Arial" panose="020B0604020202020204" pitchFamily="34" charset="0"/>
                <a:cs typeface="Arial" panose="020B0604020202020204" pitchFamily="34" charset="0"/>
              </a:rPr>
              <a:t>regulators and the public</a:t>
            </a:r>
            <a:r>
              <a:rPr lang="en-US" sz="1200" noProof="0">
                <a:solidFill>
                  <a:schemeClr val="accent1"/>
                </a:solidFill>
                <a:latin typeface="Arial" panose="020B0604020202020204" pitchFamily="34" charset="0"/>
                <a:cs typeface="Arial" panose="020B0604020202020204" pitchFamily="34" charset="0"/>
              </a:rPr>
              <a:t>.</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Generates </a:t>
            </a:r>
            <a:r>
              <a:rPr lang="en-US" sz="1200" b="1" noProof="0">
                <a:solidFill>
                  <a:schemeClr val="accent1"/>
                </a:solidFill>
                <a:latin typeface="Arial" panose="020B0604020202020204" pitchFamily="34" charset="0"/>
                <a:cs typeface="Arial" panose="020B0604020202020204" pitchFamily="34" charset="0"/>
              </a:rPr>
              <a:t>high-quality data</a:t>
            </a:r>
            <a:r>
              <a:rPr lang="en-US" sz="1200" noProof="0">
                <a:solidFill>
                  <a:schemeClr val="accent1"/>
                </a:solidFill>
                <a:latin typeface="Arial" panose="020B0604020202020204" pitchFamily="34" charset="0"/>
                <a:cs typeface="Arial" panose="020B0604020202020204" pitchFamily="34" charset="0"/>
              </a:rPr>
              <a:t> to inform future blending and rate proposals.</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Builds community trust and opens a path to </a:t>
            </a:r>
            <a:r>
              <a:rPr lang="en-US" sz="1200" b="1" noProof="0">
                <a:solidFill>
                  <a:schemeClr val="accent1"/>
                </a:solidFill>
                <a:latin typeface="Arial" panose="020B0604020202020204" pitchFamily="34" charset="0"/>
                <a:cs typeface="Arial" panose="020B0604020202020204" pitchFamily="34" charset="0"/>
              </a:rPr>
              <a:t>scaling hydrogen blending across the network</a:t>
            </a:r>
            <a:r>
              <a:rPr lang="en-US" sz="1200" noProof="0">
                <a:solidFill>
                  <a:schemeClr val="accent1"/>
                </a:solidFill>
                <a:latin typeface="Arial" panose="020B0604020202020204" pitchFamily="34" charset="0"/>
                <a:cs typeface="Arial" panose="020B0604020202020204" pitchFamily="34" charset="0"/>
              </a:rPr>
              <a:t>.</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eligibility for </a:t>
            </a:r>
            <a:r>
              <a:rPr lang="en-US" sz="1200" b="1" noProof="0">
                <a:solidFill>
                  <a:schemeClr val="accent1"/>
                </a:solidFill>
                <a:latin typeface="Arial" panose="020B0604020202020204" pitchFamily="34" charset="0"/>
                <a:cs typeface="Arial" panose="020B0604020202020204" pitchFamily="34" charset="0"/>
              </a:rPr>
              <a:t>DOE community-scale pilot funding</a:t>
            </a:r>
            <a:r>
              <a:rPr lang="en-US" sz="1200" noProof="0">
                <a:solidFill>
                  <a:schemeClr val="accent1"/>
                </a:solidFill>
                <a:latin typeface="Arial" panose="020B0604020202020204" pitchFamily="34" charset="0"/>
                <a:cs typeface="Arial" panose="020B0604020202020204" pitchFamily="34" charset="0"/>
              </a:rPr>
              <a:t>.</a:t>
            </a:r>
          </a:p>
          <a:p>
            <a:endParaRPr lang="en-US" sz="1200" noProof="0">
              <a:solidFill>
                <a:schemeClr val="accent1"/>
              </a:solidFill>
              <a:latin typeface="Arial" panose="020B0604020202020204" pitchFamily="34" charset="0"/>
              <a:cs typeface="Arial" panose="020B0604020202020204" pitchFamily="34" charset="0"/>
            </a:endParaRPr>
          </a:p>
          <a:p>
            <a:r>
              <a:rPr lang="en-US" sz="1200" b="1">
                <a:solidFill>
                  <a:schemeClr val="accent1"/>
                </a:solidFill>
                <a:latin typeface="Arial" panose="020B0604020202020204" pitchFamily="34" charset="0"/>
                <a:cs typeface="Arial" panose="020B0604020202020204" pitchFamily="34" charset="0"/>
              </a:rPr>
              <a:t>Value for Peoples Natural Gas</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Builds regulatory credibility → higher chance of DOE funding (up to $5–10M)</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Generates real-world safety + performance data for PUC filings</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community trust, reducing project delays</a:t>
            </a:r>
            <a:endParaRPr lang="en-US" sz="1400" noProof="0">
              <a:solidFill>
                <a:schemeClr val="accent1"/>
              </a:solidFill>
              <a:latin typeface="Arial" panose="020B0604020202020204" pitchFamily="34" charset="0"/>
              <a:cs typeface="Arial" panose="020B0604020202020204" pitchFamily="34" charset="0"/>
            </a:endParaRPr>
          </a:p>
        </p:txBody>
      </p:sp>
      <p:pic>
        <p:nvPicPr>
          <p:cNvPr id="6" name="Picture 5" descr="A close-up of blue text&#10;&#10;AI-generated content may be incorrect.">
            <a:extLst>
              <a:ext uri="{FF2B5EF4-FFF2-40B4-BE49-F238E27FC236}">
                <a16:creationId xmlns:a16="http://schemas.microsoft.com/office/drawing/2014/main" id="{25C6D4D1-E4CC-396F-6DC5-C3DCA8A156AE}"/>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7" name="Slide Number Placeholder 23">
            <a:extLst>
              <a:ext uri="{FF2B5EF4-FFF2-40B4-BE49-F238E27FC236}">
                <a16:creationId xmlns:a16="http://schemas.microsoft.com/office/drawing/2014/main" id="{987D1F84-71CD-1E00-F5A9-E1AB799E53A7}"/>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0</a:t>
            </a:fld>
            <a:endParaRPr lang="en-US" b="1" noProof="0">
              <a:solidFill>
                <a:schemeClr val="accent1"/>
              </a:solidFill>
              <a:latin typeface="Arial" panose="020B0604020202020204" pitchFamily="34" charset="0"/>
              <a:cs typeface="Arial" panose="020B0604020202020204" pitchFamily="34" charset="0"/>
            </a:endParaRPr>
          </a:p>
        </p:txBody>
      </p:sp>
      <p:sp>
        <p:nvSpPr>
          <p:cNvPr id="5" name="Text Placeholder 1">
            <a:extLst>
              <a:ext uri="{FF2B5EF4-FFF2-40B4-BE49-F238E27FC236}">
                <a16:creationId xmlns:a16="http://schemas.microsoft.com/office/drawing/2014/main" id="{67B95E04-80C2-38AD-BE95-094E4D97118C}"/>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2734771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6F3A8-9A3A-85BD-9FA6-35C166CF168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9ADCF4D-B9E8-577D-6B82-2FE4E610C8FE}"/>
              </a:ext>
            </a:extLst>
          </p:cNvPr>
          <p:cNvSpPr/>
          <p:nvPr/>
        </p:nvSpPr>
        <p:spPr>
          <a:xfrm>
            <a:off x="670850" y="1475533"/>
            <a:ext cx="11183257" cy="4268751"/>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buNone/>
            </a:pPr>
            <a:r>
              <a:rPr lang="en-US" sz="1600" b="1" noProof="0">
                <a:solidFill>
                  <a:schemeClr val="accent1"/>
                </a:solidFill>
                <a:latin typeface="Arial" panose="020B0604020202020204" pitchFamily="34" charset="0"/>
                <a:cs typeface="Arial" panose="020B0604020202020204" pitchFamily="34" charset="0"/>
              </a:rPr>
              <a:t>Scale Hydrogen Production with H Quest</a:t>
            </a:r>
          </a:p>
          <a:p>
            <a:pPr>
              <a:buNone/>
            </a:pPr>
            <a:r>
              <a:rPr lang="en-US" sz="1200" b="1" noProof="0">
                <a:solidFill>
                  <a:schemeClr val="accent1"/>
                </a:solidFill>
                <a:latin typeface="Arial" panose="020B0604020202020204" pitchFamily="34" charset="0"/>
                <a:cs typeface="Arial" panose="020B0604020202020204" pitchFamily="34" charset="0"/>
              </a:rPr>
              <a:t>What</a:t>
            </a:r>
            <a:r>
              <a:rPr lang="en-US" sz="1200" noProof="0">
                <a:solidFill>
                  <a:schemeClr val="accent1"/>
                </a:solidFill>
                <a:latin typeface="Arial" panose="020B0604020202020204" pitchFamily="34" charset="0"/>
                <a:cs typeface="Arial" panose="020B0604020202020204" pitchFamily="34" charset="0"/>
              </a:rPr>
              <a:t>: Support expansion of H Quest’s turquoise hydrogen output and create a business case for carbon byproduct monetization.</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Specific Actions:</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Negotiate an offtake agreement</a:t>
            </a:r>
            <a:r>
              <a:rPr lang="en-US" sz="1200" noProof="0">
                <a:solidFill>
                  <a:schemeClr val="accent1"/>
                </a:solidFill>
                <a:latin typeface="Arial" panose="020B0604020202020204" pitchFamily="34" charset="0"/>
                <a:cs typeface="Arial" panose="020B0604020202020204" pitchFamily="34" charset="0"/>
              </a:rPr>
              <a:t> with H Quest to secure a consistent, local hydrogen supply for blending trial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Co-develop a grant proposal</a:t>
            </a:r>
            <a:r>
              <a:rPr lang="en-US" sz="1200" noProof="0">
                <a:solidFill>
                  <a:schemeClr val="accent1"/>
                </a:solidFill>
                <a:latin typeface="Arial" panose="020B0604020202020204" pitchFamily="34" charset="0"/>
                <a:cs typeface="Arial" panose="020B0604020202020204" pitchFamily="34" charset="0"/>
              </a:rPr>
              <a:t> with H Quest for scaling microwave plasma units under DOE's Hydrogen and Fuel Cell Technologies Office (HFTO).</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Explore carbon co-product commercialization</a:t>
            </a:r>
            <a:r>
              <a:rPr lang="en-US" sz="1200" noProof="0">
                <a:solidFill>
                  <a:schemeClr val="accent1"/>
                </a:solidFill>
                <a:latin typeface="Arial" panose="020B0604020202020204" pitchFamily="34" charset="0"/>
                <a:cs typeface="Arial" panose="020B0604020202020204" pitchFamily="34" charset="0"/>
              </a:rPr>
              <a:t> (graphene, carbon black) with partners in advanced materials, construction, or tech sector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Coordinate pipeline interconnects</a:t>
            </a:r>
            <a:r>
              <a:rPr lang="en-US" sz="1200" noProof="0">
                <a:solidFill>
                  <a:schemeClr val="accent1"/>
                </a:solidFill>
                <a:latin typeface="Arial" panose="020B0604020202020204" pitchFamily="34" charset="0"/>
                <a:cs typeface="Arial" panose="020B0604020202020204" pitchFamily="34" charset="0"/>
              </a:rPr>
              <a:t> for blending sites, ensuring compression and storage capabilities match phased pilot need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y It</a:t>
            </a:r>
            <a:r>
              <a:rPr lang="en-US" sz="1200" b="1">
                <a:solidFill>
                  <a:schemeClr val="accent1"/>
                </a:solidFill>
                <a:latin typeface="Arial" panose="020B0604020202020204" pitchFamily="34" charset="0"/>
                <a:cs typeface="Arial" panose="020B0604020202020204" pitchFamily="34" charset="0"/>
              </a:rPr>
              <a:t> Is</a:t>
            </a:r>
            <a:r>
              <a:rPr lang="en-US" sz="1200" b="1" noProof="0">
                <a:solidFill>
                  <a:schemeClr val="accent1"/>
                </a:solidFill>
                <a:latin typeface="Arial" panose="020B0604020202020204" pitchFamily="34" charset="0"/>
                <a:cs typeface="Arial" panose="020B0604020202020204" pitchFamily="34" charset="0"/>
              </a:rPr>
              <a:t> Recommended:</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Secures a </a:t>
            </a:r>
            <a:r>
              <a:rPr lang="en-US" sz="1200" b="1" noProof="0">
                <a:solidFill>
                  <a:schemeClr val="accent1"/>
                </a:solidFill>
                <a:latin typeface="Arial" panose="020B0604020202020204" pitchFamily="34" charset="0"/>
                <a:cs typeface="Arial" panose="020B0604020202020204" pitchFamily="34" charset="0"/>
              </a:rPr>
              <a:t>cost-effective, clean hydrogen source</a:t>
            </a:r>
            <a:r>
              <a:rPr lang="en-US" sz="1200" noProof="0">
                <a:solidFill>
                  <a:schemeClr val="accent1"/>
                </a:solidFill>
                <a:latin typeface="Arial" panose="020B0604020202020204" pitchFamily="34" charset="0"/>
                <a:cs typeface="Arial" panose="020B0604020202020204" pitchFamily="34" charset="0"/>
              </a:rPr>
              <a:t> made in Pennsylvania.</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long-term </a:t>
            </a:r>
            <a:r>
              <a:rPr lang="en-US" sz="1200" b="1" noProof="0">
                <a:solidFill>
                  <a:schemeClr val="accent1"/>
                </a:solidFill>
                <a:latin typeface="Arial" panose="020B0604020202020204" pitchFamily="34" charset="0"/>
                <a:cs typeface="Arial" panose="020B0604020202020204" pitchFamily="34" charset="0"/>
              </a:rPr>
              <a:t>supply chain resilience</a:t>
            </a:r>
            <a:r>
              <a:rPr lang="en-US" sz="1200" noProof="0">
                <a:solidFill>
                  <a:schemeClr val="accent1"/>
                </a:solidFill>
                <a:latin typeface="Arial" panose="020B0604020202020204" pitchFamily="34" charset="0"/>
                <a:cs typeface="Arial" panose="020B0604020202020204" pitchFamily="34" charset="0"/>
              </a:rPr>
              <a:t> and localization.</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Monetizing carbon co-products </a:t>
            </a:r>
            <a:r>
              <a:rPr lang="en-US" sz="1200" b="1" noProof="0">
                <a:solidFill>
                  <a:schemeClr val="accent1"/>
                </a:solidFill>
                <a:latin typeface="Arial" panose="020B0604020202020204" pitchFamily="34" charset="0"/>
                <a:cs typeface="Arial" panose="020B0604020202020204" pitchFamily="34" charset="0"/>
              </a:rPr>
              <a:t>lowers the effective cost of hydrogen</a:t>
            </a:r>
            <a:r>
              <a:rPr lang="en-US" sz="1200" noProof="0">
                <a:solidFill>
                  <a:schemeClr val="accent1"/>
                </a:solidFill>
                <a:latin typeface="Arial" panose="020B0604020202020204" pitchFamily="34" charset="0"/>
                <a:cs typeface="Arial" panose="020B0604020202020204" pitchFamily="34" charset="0"/>
              </a:rPr>
              <a:t>, easing pressure on customer rates.</a:t>
            </a:r>
          </a:p>
          <a:p>
            <a:endParaRPr lang="en-US" sz="1200" b="1">
              <a:solidFill>
                <a:schemeClr val="accent1"/>
              </a:solidFill>
              <a:latin typeface="Arial" panose="020B0604020202020204" pitchFamily="34" charset="0"/>
              <a:cs typeface="Arial" panose="020B0604020202020204" pitchFamily="34" charset="0"/>
            </a:endParaRPr>
          </a:p>
          <a:p>
            <a:r>
              <a:rPr lang="en-US" sz="1200" b="1">
                <a:solidFill>
                  <a:schemeClr val="accent1"/>
                </a:solidFill>
                <a:latin typeface="Arial" panose="020B0604020202020204" pitchFamily="34" charset="0"/>
                <a:cs typeface="Arial" panose="020B0604020202020204" pitchFamily="34" charset="0"/>
              </a:rPr>
              <a:t>Value for Peoples Natural Gas</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Secures a local hydrogen supply, reducing dependence on high-cost green H₂.</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Offsets production costs via co-product sales, improving NPV.</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Positions Peoples as a technology partner, not just a buyer.</a:t>
            </a:r>
          </a:p>
          <a:p>
            <a:r>
              <a:rPr lang="en-US" sz="1200" noProof="0">
                <a:solidFill>
                  <a:schemeClr val="accent1"/>
                </a:solidFill>
                <a:latin typeface="Arial" panose="020B0604020202020204" pitchFamily="34" charset="0"/>
                <a:cs typeface="Arial" panose="020B0604020202020204" pitchFamily="34" charset="0"/>
              </a:rPr>
              <a:t>Ref (b)</a:t>
            </a:r>
          </a:p>
        </p:txBody>
      </p:sp>
      <p:pic>
        <p:nvPicPr>
          <p:cNvPr id="6" name="Picture 5" descr="A close-up of blue text&#10;&#10;AI-generated content may be incorrect.">
            <a:extLst>
              <a:ext uri="{FF2B5EF4-FFF2-40B4-BE49-F238E27FC236}">
                <a16:creationId xmlns:a16="http://schemas.microsoft.com/office/drawing/2014/main" id="{C4CC32EE-A410-F1D5-E42C-19125B81DA36}"/>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7" name="Slide Number Placeholder 23">
            <a:extLst>
              <a:ext uri="{FF2B5EF4-FFF2-40B4-BE49-F238E27FC236}">
                <a16:creationId xmlns:a16="http://schemas.microsoft.com/office/drawing/2014/main" id="{3DEDA400-DC4B-6ACC-D76F-A3125E9D7DEA}"/>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1</a:t>
            </a:fld>
            <a:endParaRPr lang="en-US" b="1" noProof="0">
              <a:solidFill>
                <a:schemeClr val="accent1"/>
              </a:solidFill>
              <a:latin typeface="Arial" panose="020B0604020202020204" pitchFamily="34" charset="0"/>
              <a:cs typeface="Arial" panose="020B0604020202020204" pitchFamily="34" charset="0"/>
            </a:endParaRPr>
          </a:p>
        </p:txBody>
      </p:sp>
      <p:sp>
        <p:nvSpPr>
          <p:cNvPr id="9" name="Text Placeholder 1">
            <a:extLst>
              <a:ext uri="{FF2B5EF4-FFF2-40B4-BE49-F238E27FC236}">
                <a16:creationId xmlns:a16="http://schemas.microsoft.com/office/drawing/2014/main" id="{7D8AD30E-ABEB-021E-754D-5232ADA2410A}"/>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2949998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A43AC-E47B-A401-A838-487461A9673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4BB3100-536C-5721-06B4-36A1AB6E5832}"/>
              </a:ext>
            </a:extLst>
          </p:cNvPr>
          <p:cNvSpPr/>
          <p:nvPr/>
        </p:nvSpPr>
        <p:spPr>
          <a:xfrm>
            <a:off x="479909" y="2053772"/>
            <a:ext cx="11617748" cy="3142343"/>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buNone/>
            </a:pPr>
            <a:r>
              <a:rPr lang="en-US" sz="1600" b="1" noProof="0">
                <a:solidFill>
                  <a:schemeClr val="accent1"/>
                </a:solidFill>
                <a:latin typeface="Arial" panose="020B0604020202020204" pitchFamily="34" charset="0"/>
                <a:cs typeface="Arial" panose="020B0604020202020204" pitchFamily="34" charset="0"/>
              </a:rPr>
              <a:t>Align Hydrogen Planning with Pipeline Modernization</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at</a:t>
            </a:r>
            <a:r>
              <a:rPr lang="en-US" sz="1200" noProof="0">
                <a:solidFill>
                  <a:schemeClr val="accent1"/>
                </a:solidFill>
                <a:latin typeface="Arial" panose="020B0604020202020204" pitchFamily="34" charset="0"/>
                <a:cs typeface="Arial" panose="020B0604020202020204" pitchFamily="34" charset="0"/>
              </a:rPr>
              <a:t>: Integrate hydrogen-readiness into existing pipeline replacement and expansion effort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Specific Actions:</a:t>
            </a:r>
            <a:endParaRPr lang="en-US" sz="1200" noProof="0">
              <a:solidFill>
                <a:schemeClr val="accent1"/>
              </a:solidFill>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Prioritize hydrogen-compatible material installation</a:t>
            </a:r>
            <a:r>
              <a:rPr lang="en-US" sz="1200" noProof="0">
                <a:solidFill>
                  <a:schemeClr val="accent1"/>
                </a:solidFill>
                <a:latin typeface="Arial" panose="020B0604020202020204" pitchFamily="34" charset="0"/>
                <a:cs typeface="Arial" panose="020B0604020202020204" pitchFamily="34" charset="0"/>
              </a:rPr>
              <a:t> (PE100-RC, FRP) in areas identified for future hydrogen pilots or scaling.</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Develop a GIS-based asset map</a:t>
            </a:r>
            <a:r>
              <a:rPr lang="en-US" sz="1200" noProof="0">
                <a:solidFill>
                  <a:schemeClr val="accent1"/>
                </a:solidFill>
                <a:latin typeface="Arial" panose="020B0604020202020204" pitchFamily="34" charset="0"/>
                <a:cs typeface="Arial" panose="020B0604020202020204" pitchFamily="34" charset="0"/>
              </a:rPr>
              <a:t> of hydrogen-ready pipeline segments to support strategic planning and regulatory filings.</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Incorporate hydrogen specifications</a:t>
            </a:r>
            <a:r>
              <a:rPr lang="en-US" sz="1200" noProof="0">
                <a:solidFill>
                  <a:schemeClr val="accent1"/>
                </a:solidFill>
                <a:latin typeface="Arial" panose="020B0604020202020204" pitchFamily="34" charset="0"/>
                <a:cs typeface="Arial" panose="020B0604020202020204" pitchFamily="34" charset="0"/>
              </a:rPr>
              <a:t> into procurement standards for new pipe materials and valves.</a:t>
            </a:r>
          </a:p>
          <a:p>
            <a:pPr marL="742950" lvl="1" indent="-2857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Apply for infrastructure co-funding</a:t>
            </a:r>
            <a:r>
              <a:rPr lang="en-US" sz="1200" noProof="0">
                <a:solidFill>
                  <a:schemeClr val="accent1"/>
                </a:solidFill>
                <a:latin typeface="Arial" panose="020B0604020202020204" pitchFamily="34" charset="0"/>
                <a:cs typeface="Arial" panose="020B0604020202020204" pitchFamily="34" charset="0"/>
              </a:rPr>
              <a:t> through DOE’s Clean Energy Infrastructure and Resilience Program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y It</a:t>
            </a:r>
            <a:r>
              <a:rPr lang="en-US" sz="1200" b="1">
                <a:solidFill>
                  <a:schemeClr val="accent1"/>
                </a:solidFill>
                <a:latin typeface="Arial" panose="020B0604020202020204" pitchFamily="34" charset="0"/>
                <a:cs typeface="Arial" panose="020B0604020202020204" pitchFamily="34" charset="0"/>
              </a:rPr>
              <a:t> Is</a:t>
            </a:r>
            <a:r>
              <a:rPr lang="en-US" sz="1200" b="1" noProof="0">
                <a:solidFill>
                  <a:schemeClr val="accent1"/>
                </a:solidFill>
                <a:latin typeface="Arial" panose="020B0604020202020204" pitchFamily="34" charset="0"/>
                <a:cs typeface="Arial" panose="020B0604020202020204" pitchFamily="34" charset="0"/>
              </a:rPr>
              <a:t> Recommended:</a:t>
            </a:r>
            <a:endParaRPr lang="en-US" sz="1200" noProof="0">
              <a:solidFill>
                <a:schemeClr val="accent1"/>
              </a:solidFill>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Leverages </a:t>
            </a:r>
            <a:r>
              <a:rPr lang="en-US" sz="1200" b="1" noProof="0">
                <a:solidFill>
                  <a:schemeClr val="accent1"/>
                </a:solidFill>
                <a:latin typeface="Arial" panose="020B0604020202020204" pitchFamily="34" charset="0"/>
                <a:cs typeface="Arial" panose="020B0604020202020204" pitchFamily="34" charset="0"/>
              </a:rPr>
              <a:t>ongoing investments</a:t>
            </a:r>
            <a:r>
              <a:rPr lang="en-US" sz="1200" noProof="0">
                <a:solidFill>
                  <a:schemeClr val="accent1"/>
                </a:solidFill>
                <a:latin typeface="Arial" panose="020B0604020202020204" pitchFamily="34" charset="0"/>
                <a:cs typeface="Arial" panose="020B0604020202020204" pitchFamily="34" charset="0"/>
              </a:rPr>
              <a:t> to build hydrogen compatibility at no marginal cost.</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Avoids expensive retrofits later by </a:t>
            </a:r>
            <a:r>
              <a:rPr lang="en-US" sz="1200" b="1" noProof="0">
                <a:solidFill>
                  <a:schemeClr val="accent1"/>
                </a:solidFill>
                <a:latin typeface="Arial" panose="020B0604020202020204" pitchFamily="34" charset="0"/>
                <a:cs typeface="Arial" panose="020B0604020202020204" pitchFamily="34" charset="0"/>
              </a:rPr>
              <a:t>planning ahead now</a:t>
            </a:r>
            <a:r>
              <a:rPr lang="en-US" sz="1200" noProof="0">
                <a:solidFill>
                  <a:schemeClr val="accent1"/>
                </a:solidFill>
                <a:latin typeface="Arial" panose="020B0604020202020204" pitchFamily="34" charset="0"/>
                <a:cs typeface="Arial" panose="020B0604020202020204" pitchFamily="34" charset="0"/>
              </a:rPr>
              <a:t>.</a:t>
            </a:r>
          </a:p>
          <a:p>
            <a:pPr marL="742950" lvl="1" indent="-2857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Creates a pipeline network that supports </a:t>
            </a:r>
            <a:r>
              <a:rPr lang="en-US" sz="1200" b="1" noProof="0">
                <a:solidFill>
                  <a:schemeClr val="accent1"/>
                </a:solidFill>
                <a:latin typeface="Arial" panose="020B0604020202020204" pitchFamily="34" charset="0"/>
                <a:cs typeface="Arial" panose="020B0604020202020204" pitchFamily="34" charset="0"/>
              </a:rPr>
              <a:t>future blending or 100% hydrogen distribution</a:t>
            </a:r>
            <a:r>
              <a:rPr lang="en-US" sz="1200" noProof="0">
                <a:solidFill>
                  <a:schemeClr val="accent1"/>
                </a:solidFill>
                <a:latin typeface="Arial" panose="020B0604020202020204" pitchFamily="34" charset="0"/>
                <a:cs typeface="Arial" panose="020B0604020202020204" pitchFamily="34" charset="0"/>
              </a:rPr>
              <a:t> in select zones.</a:t>
            </a:r>
          </a:p>
        </p:txBody>
      </p:sp>
      <p:pic>
        <p:nvPicPr>
          <p:cNvPr id="4" name="Picture 3" descr="A close-up of blue text&#10;&#10;AI-generated content may be incorrect.">
            <a:extLst>
              <a:ext uri="{FF2B5EF4-FFF2-40B4-BE49-F238E27FC236}">
                <a16:creationId xmlns:a16="http://schemas.microsoft.com/office/drawing/2014/main" id="{FA78E97F-C324-30AC-4B21-898076107FDD}"/>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Slide Number Placeholder 23">
            <a:extLst>
              <a:ext uri="{FF2B5EF4-FFF2-40B4-BE49-F238E27FC236}">
                <a16:creationId xmlns:a16="http://schemas.microsoft.com/office/drawing/2014/main" id="{52877E1E-0B36-9919-B2DB-2C90326E84DC}"/>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2</a:t>
            </a:fld>
            <a:endParaRPr lang="en-US" b="1" noProof="0">
              <a:solidFill>
                <a:schemeClr val="accent1"/>
              </a:solidFill>
              <a:latin typeface="Arial" panose="020B0604020202020204" pitchFamily="34" charset="0"/>
              <a:cs typeface="Arial" panose="020B0604020202020204" pitchFamily="34" charset="0"/>
            </a:endParaRPr>
          </a:p>
        </p:txBody>
      </p:sp>
      <p:sp>
        <p:nvSpPr>
          <p:cNvPr id="8" name="Text Placeholder 1">
            <a:extLst>
              <a:ext uri="{FF2B5EF4-FFF2-40B4-BE49-F238E27FC236}">
                <a16:creationId xmlns:a16="http://schemas.microsoft.com/office/drawing/2014/main" id="{F15A5147-7746-4FF4-061D-321D913776E5}"/>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4148277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E67B0-03F5-F496-2946-50BE80B7D64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1B79F6B-E90E-1952-AA09-6DECC2493507}"/>
              </a:ext>
            </a:extLst>
          </p:cNvPr>
          <p:cNvSpPr/>
          <p:nvPr/>
        </p:nvSpPr>
        <p:spPr>
          <a:xfrm>
            <a:off x="436366" y="1313543"/>
            <a:ext cx="5877348" cy="5028891"/>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buNone/>
            </a:pPr>
            <a:r>
              <a:rPr lang="en-US" sz="1600" b="1" noProof="0">
                <a:solidFill>
                  <a:schemeClr val="accent1"/>
                </a:solidFill>
                <a:latin typeface="Arial" panose="020B0604020202020204" pitchFamily="34" charset="0"/>
                <a:cs typeface="Arial" panose="020B0604020202020204" pitchFamily="34" charset="0"/>
              </a:rPr>
              <a:t>Adopt Advanced Leak Detection Technologie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at</a:t>
            </a:r>
            <a:r>
              <a:rPr lang="en-US" sz="1200" noProof="0">
                <a:solidFill>
                  <a:schemeClr val="accent1"/>
                </a:solidFill>
                <a:latin typeface="Arial" panose="020B0604020202020204" pitchFamily="34" charset="0"/>
                <a:cs typeface="Arial" panose="020B0604020202020204" pitchFamily="34" charset="0"/>
              </a:rPr>
              <a:t>: Implement high-precision leak detection systems focused on hydrogen and methane risk area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Specific Actions:</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Deploy Optical Gas Imaging (OGI)</a:t>
            </a:r>
            <a:r>
              <a:rPr lang="en-US" sz="1200" noProof="0">
                <a:solidFill>
                  <a:schemeClr val="accent1"/>
                </a:solidFill>
                <a:latin typeface="Arial" panose="020B0604020202020204" pitchFamily="34" charset="0"/>
                <a:cs typeface="Arial" panose="020B0604020202020204" pitchFamily="34" charset="0"/>
              </a:rPr>
              <a:t> cameras and </a:t>
            </a:r>
            <a:r>
              <a:rPr lang="en-US" sz="1200" noProof="0" err="1">
                <a:solidFill>
                  <a:schemeClr val="accent1"/>
                </a:solidFill>
                <a:latin typeface="Arial" panose="020B0604020202020204" pitchFamily="34" charset="0"/>
                <a:cs typeface="Arial" panose="020B0604020202020204" pitchFamily="34" charset="0"/>
              </a:rPr>
              <a:t>MultiSensor</a:t>
            </a:r>
            <a:r>
              <a:rPr lang="en-US" sz="1200" noProof="0">
                <a:solidFill>
                  <a:schemeClr val="accent1"/>
                </a:solidFill>
                <a:latin typeface="Arial" panose="020B0604020202020204" pitchFamily="34" charset="0"/>
                <a:cs typeface="Arial" panose="020B0604020202020204" pitchFamily="34" charset="0"/>
              </a:rPr>
              <a:t> AI platforms at compressor stations and key junction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Subscribe to </a:t>
            </a:r>
            <a:r>
              <a:rPr lang="en-US" sz="1200" b="1" noProof="0" err="1">
                <a:solidFill>
                  <a:schemeClr val="accent1"/>
                </a:solidFill>
                <a:latin typeface="Arial" panose="020B0604020202020204" pitchFamily="34" charset="0"/>
                <a:cs typeface="Arial" panose="020B0604020202020204" pitchFamily="34" charset="0"/>
              </a:rPr>
              <a:t>GHGSat</a:t>
            </a:r>
            <a:r>
              <a:rPr lang="en-US" sz="1200" b="1" noProof="0">
                <a:solidFill>
                  <a:schemeClr val="accent1"/>
                </a:solidFill>
                <a:latin typeface="Arial" panose="020B0604020202020204" pitchFamily="34" charset="0"/>
                <a:cs typeface="Arial" panose="020B0604020202020204" pitchFamily="34" charset="0"/>
              </a:rPr>
              <a:t> or Kayrros</a:t>
            </a:r>
            <a:r>
              <a:rPr lang="en-US" sz="1200" noProof="0">
                <a:solidFill>
                  <a:schemeClr val="accent1"/>
                </a:solidFill>
                <a:latin typeface="Arial" panose="020B0604020202020204" pitchFamily="34" charset="0"/>
                <a:cs typeface="Arial" panose="020B0604020202020204" pitchFamily="34" charset="0"/>
              </a:rPr>
              <a:t> for satellite-based methane and hydrogen plume detection and regional surveillance.</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Apply for detection tech funding</a:t>
            </a:r>
            <a:r>
              <a:rPr lang="en-US" sz="1200" noProof="0">
                <a:solidFill>
                  <a:schemeClr val="accent1"/>
                </a:solidFill>
                <a:latin typeface="Arial" panose="020B0604020202020204" pitchFamily="34" charset="0"/>
                <a:cs typeface="Arial" panose="020B0604020202020204" pitchFamily="34" charset="0"/>
              </a:rPr>
              <a:t> under PHMSA and DOE safety program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Report leak detection performance</a:t>
            </a:r>
            <a:r>
              <a:rPr lang="en-US" sz="1200" noProof="0">
                <a:solidFill>
                  <a:schemeClr val="accent1"/>
                </a:solidFill>
                <a:latin typeface="Arial" panose="020B0604020202020204" pitchFamily="34" charset="0"/>
                <a:cs typeface="Arial" panose="020B0604020202020204" pitchFamily="34" charset="0"/>
              </a:rPr>
              <a:t> in ESG metrics and sustainability report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y It’s Recommended:</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a:t>
            </a:r>
            <a:r>
              <a:rPr lang="en-US" sz="1200" b="1" noProof="0">
                <a:solidFill>
                  <a:schemeClr val="accent1"/>
                </a:solidFill>
                <a:latin typeface="Arial" panose="020B0604020202020204" pitchFamily="34" charset="0"/>
                <a:cs typeface="Arial" panose="020B0604020202020204" pitchFamily="34" charset="0"/>
              </a:rPr>
              <a:t>public safety</a:t>
            </a:r>
            <a:r>
              <a:rPr lang="en-US" sz="1200" noProof="0">
                <a:solidFill>
                  <a:schemeClr val="accent1"/>
                </a:solidFill>
                <a:latin typeface="Arial" panose="020B0604020202020204" pitchFamily="34" charset="0"/>
                <a:cs typeface="Arial" panose="020B0604020202020204" pitchFamily="34" charset="0"/>
              </a:rPr>
              <a:t> and hydrogen pilot confidence.</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Supports compliance with </a:t>
            </a:r>
            <a:r>
              <a:rPr lang="en-US" sz="1200" b="1" noProof="0">
                <a:solidFill>
                  <a:schemeClr val="accent1"/>
                </a:solidFill>
                <a:latin typeface="Arial" panose="020B0604020202020204" pitchFamily="34" charset="0"/>
                <a:cs typeface="Arial" panose="020B0604020202020204" pitchFamily="34" charset="0"/>
              </a:rPr>
              <a:t>EPA methane rule updates and upcoming hydrogen-specific regulations</a:t>
            </a:r>
            <a:r>
              <a:rPr lang="en-US" sz="1200" noProof="0">
                <a:solidFill>
                  <a:schemeClr val="accent1"/>
                </a:solidFill>
                <a:latin typeface="Arial" panose="020B0604020202020204" pitchFamily="34" charset="0"/>
                <a:cs typeface="Arial" panose="020B0604020202020204" pitchFamily="34" charset="0"/>
              </a:rPr>
              <a:t>.</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Bolsters ESG disclosures and </a:t>
            </a:r>
            <a:r>
              <a:rPr lang="en-US" sz="1200" b="1" noProof="0">
                <a:solidFill>
                  <a:schemeClr val="accent1"/>
                </a:solidFill>
                <a:latin typeface="Arial" panose="020B0604020202020204" pitchFamily="34" charset="0"/>
                <a:cs typeface="Arial" panose="020B0604020202020204" pitchFamily="34" charset="0"/>
              </a:rPr>
              <a:t>demonstrates technology-forward risk management</a:t>
            </a:r>
            <a:r>
              <a:rPr lang="en-US" sz="1200" noProof="0">
                <a:solidFill>
                  <a:schemeClr val="accent1"/>
                </a:solidFill>
                <a:latin typeface="Arial" panose="020B0604020202020204" pitchFamily="34" charset="0"/>
                <a:cs typeface="Arial" panose="020B0604020202020204" pitchFamily="34" charset="0"/>
              </a:rPr>
              <a:t>.</a:t>
            </a:r>
          </a:p>
          <a:p>
            <a:endParaRPr lang="en-US" sz="1200" b="1">
              <a:solidFill>
                <a:schemeClr val="accent1"/>
              </a:solidFill>
              <a:latin typeface="Arial" panose="020B0604020202020204" pitchFamily="34" charset="0"/>
              <a:cs typeface="Arial" panose="020B0604020202020204" pitchFamily="34" charset="0"/>
            </a:endParaRPr>
          </a:p>
          <a:p>
            <a:r>
              <a:rPr lang="en-US" sz="1200" b="1">
                <a:solidFill>
                  <a:schemeClr val="accent1"/>
                </a:solidFill>
                <a:latin typeface="Arial" panose="020B0604020202020204" pitchFamily="34" charset="0"/>
                <a:cs typeface="Arial" panose="020B0604020202020204" pitchFamily="34" charset="0"/>
              </a:rPr>
              <a:t>Value for Peoples Gas</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Reduces methane loss and potential fines under EPA methane rule.</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Improves ESG scores, supporting investor and regulatory confidence.</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public safety and long-term operational resilience</a:t>
            </a:r>
            <a:r>
              <a:rPr lang="en-US" sz="1200">
                <a:solidFill>
                  <a:schemeClr val="accent1"/>
                </a:solidFill>
                <a:latin typeface="Arial" panose="020B0604020202020204" pitchFamily="34" charset="0"/>
                <a:cs typeface="Arial" panose="020B0604020202020204" pitchFamily="34" charset="0"/>
              </a:rPr>
              <a:t>.</a:t>
            </a:r>
            <a:endParaRPr lang="en-US" sz="1200" noProof="0">
              <a:solidFill>
                <a:schemeClr val="accent1"/>
              </a:solidFill>
              <a:latin typeface="Arial" panose="020B0604020202020204" pitchFamily="34" charset="0"/>
              <a:cs typeface="Arial" panose="020B0604020202020204" pitchFamily="34" charset="0"/>
            </a:endParaRPr>
          </a:p>
          <a:p>
            <a:endParaRPr lang="en-US" sz="1200" noProof="0">
              <a:solidFill>
                <a:schemeClr val="accent1"/>
              </a:solidFill>
              <a:latin typeface="Arial" panose="020B0604020202020204" pitchFamily="34" charset="0"/>
              <a:cs typeface="Arial" panose="020B0604020202020204" pitchFamily="34" charset="0"/>
            </a:endParaRPr>
          </a:p>
        </p:txBody>
      </p:sp>
      <p:pic>
        <p:nvPicPr>
          <p:cNvPr id="4" name="Picture Placeholder 12" descr="A camera with a screen on it&#10;&#10;Description automatically generated with medium confidence">
            <a:extLst>
              <a:ext uri="{FF2B5EF4-FFF2-40B4-BE49-F238E27FC236}">
                <a16:creationId xmlns:a16="http://schemas.microsoft.com/office/drawing/2014/main" id="{11BE9235-A508-D420-A731-D42BC3C285FB}"/>
              </a:ext>
            </a:extLst>
          </p:cNvPr>
          <p:cNvPicPr>
            <a:picLocks noChangeAspect="1"/>
          </p:cNvPicPr>
          <p:nvPr/>
        </p:nvPicPr>
        <p:blipFill>
          <a:blip r:embed="rId2"/>
          <a:srcRect l="53139" t="-1946" r="-244" b="1946"/>
          <a:stretch/>
        </p:blipFill>
        <p:spPr>
          <a:xfrm>
            <a:off x="6749115" y="1479661"/>
            <a:ext cx="1517519" cy="1188787"/>
          </a:xfrm>
          <a:prstGeom prst="rect">
            <a:avLst/>
          </a:prstGeom>
        </p:spPr>
      </p:pic>
      <p:pic>
        <p:nvPicPr>
          <p:cNvPr id="6" name="Picture Placeholder 14" descr="A computer monitor showing a graph&#10;&#10;Description automatically generated">
            <a:extLst>
              <a:ext uri="{FF2B5EF4-FFF2-40B4-BE49-F238E27FC236}">
                <a16:creationId xmlns:a16="http://schemas.microsoft.com/office/drawing/2014/main" id="{062D9031-A665-11D5-F40A-B21F02EC9F9B}"/>
              </a:ext>
            </a:extLst>
          </p:cNvPr>
          <p:cNvPicPr>
            <a:picLocks noChangeAspect="1"/>
          </p:cNvPicPr>
          <p:nvPr/>
        </p:nvPicPr>
        <p:blipFill>
          <a:blip r:embed="rId3"/>
          <a:srcRect l="8600" r="8600" b="19030"/>
          <a:stretch/>
        </p:blipFill>
        <p:spPr>
          <a:xfrm>
            <a:off x="8528555" y="1094079"/>
            <a:ext cx="3435419" cy="1959952"/>
          </a:xfrm>
          <a:prstGeom prst="rect">
            <a:avLst/>
          </a:prstGeom>
        </p:spPr>
      </p:pic>
      <p:pic>
        <p:nvPicPr>
          <p:cNvPr id="7" name="Picture 4" descr="undefined">
            <a:extLst>
              <a:ext uri="{FF2B5EF4-FFF2-40B4-BE49-F238E27FC236}">
                <a16:creationId xmlns:a16="http://schemas.microsoft.com/office/drawing/2014/main" id="{E6EB4A38-CCFD-3494-E138-F2C38D85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59316" y="3289384"/>
            <a:ext cx="4292344" cy="271812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close-up of blue text&#10;&#10;AI-generated content may be incorrect.">
            <a:extLst>
              <a:ext uri="{FF2B5EF4-FFF2-40B4-BE49-F238E27FC236}">
                <a16:creationId xmlns:a16="http://schemas.microsoft.com/office/drawing/2014/main" id="{F044FB81-2C36-7949-CEFA-AEAF90A904FE}"/>
              </a:ext>
            </a:extLst>
          </p:cNvPr>
          <p:cNvPicPr>
            <a:picLocks noChangeAspect="1"/>
          </p:cNvPicPr>
          <p:nvPr/>
        </p:nvPicPr>
        <p:blipFill>
          <a:blip r:embed="rId5"/>
          <a:stretch>
            <a:fillRect/>
          </a:stretch>
        </p:blipFill>
        <p:spPr>
          <a:xfrm>
            <a:off x="7801586" y="5979638"/>
            <a:ext cx="4666600" cy="1120163"/>
          </a:xfrm>
          <a:prstGeom prst="rect">
            <a:avLst/>
          </a:prstGeom>
        </p:spPr>
      </p:pic>
      <p:sp>
        <p:nvSpPr>
          <p:cNvPr id="9" name="Slide Number Placeholder 23">
            <a:extLst>
              <a:ext uri="{FF2B5EF4-FFF2-40B4-BE49-F238E27FC236}">
                <a16:creationId xmlns:a16="http://schemas.microsoft.com/office/drawing/2014/main" id="{510282D9-CAA2-439F-BAC0-47F68ACB7B75}"/>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3</a:t>
            </a:fld>
            <a:endParaRPr lang="en-US" b="1" noProof="0">
              <a:solidFill>
                <a:schemeClr val="accent1"/>
              </a:solidFill>
              <a:latin typeface="Arial" panose="020B0604020202020204" pitchFamily="34" charset="0"/>
              <a:cs typeface="Arial" panose="020B0604020202020204" pitchFamily="34" charset="0"/>
            </a:endParaRPr>
          </a:p>
        </p:txBody>
      </p:sp>
      <p:sp>
        <p:nvSpPr>
          <p:cNvPr id="11" name="Text Placeholder 1">
            <a:extLst>
              <a:ext uri="{FF2B5EF4-FFF2-40B4-BE49-F238E27FC236}">
                <a16:creationId xmlns:a16="http://schemas.microsoft.com/office/drawing/2014/main" id="{0B22667A-6CB8-A3FB-B63A-018E58FADF37}"/>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2813832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1B317E-BEEB-3AE8-6F2C-96357CEEA1E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2CFA78F-6782-4DD3-8F6E-8532C9C0A273}"/>
              </a:ext>
            </a:extLst>
          </p:cNvPr>
          <p:cNvSpPr/>
          <p:nvPr/>
        </p:nvSpPr>
        <p:spPr>
          <a:xfrm>
            <a:off x="670850" y="1253080"/>
            <a:ext cx="11183257" cy="4557575"/>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buNone/>
            </a:pPr>
            <a:r>
              <a:rPr lang="en-US" sz="1600" b="1" noProof="0">
                <a:solidFill>
                  <a:schemeClr val="accent1"/>
                </a:solidFill>
                <a:latin typeface="Arial" panose="020B0604020202020204" pitchFamily="34" charset="0"/>
                <a:cs typeface="Arial" panose="020B0604020202020204" pitchFamily="34" charset="0"/>
              </a:rPr>
              <a:t>Strengthen and Strategically Leverage Regulatory Engagement</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ith the Pennsylvania PUC:</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File for a Pilot Tariff</a:t>
            </a:r>
            <a:r>
              <a:rPr lang="en-US" sz="1200" noProof="0">
                <a:solidFill>
                  <a:schemeClr val="accent1"/>
                </a:solidFill>
                <a:latin typeface="Arial" panose="020B0604020202020204" pitchFamily="34" charset="0"/>
                <a:cs typeface="Arial" panose="020B0604020202020204" pitchFamily="34" charset="0"/>
              </a:rPr>
              <a:t>: Propose a </a:t>
            </a:r>
            <a:r>
              <a:rPr lang="en-US" sz="1200" i="1" noProof="0">
                <a:solidFill>
                  <a:schemeClr val="accent1"/>
                </a:solidFill>
                <a:latin typeface="Arial" panose="020B0604020202020204" pitchFamily="34" charset="0"/>
                <a:cs typeface="Arial" panose="020B0604020202020204" pitchFamily="34" charset="0"/>
              </a:rPr>
              <a:t>green gas pilot rider</a:t>
            </a:r>
            <a:r>
              <a:rPr lang="en-US" sz="1200" noProof="0">
                <a:solidFill>
                  <a:schemeClr val="accent1"/>
                </a:solidFill>
                <a:latin typeface="Arial" panose="020B0604020202020204" pitchFamily="34" charset="0"/>
                <a:cs typeface="Arial" panose="020B0604020202020204" pitchFamily="34" charset="0"/>
              </a:rPr>
              <a:t> or tariff allowing a subset of customers to opt into hydrogen-blended service at a premium rate. Include cost-benefit modeling and a clear customer education plan.</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Initiate a Collaborative Docket</a:t>
            </a:r>
            <a:r>
              <a:rPr lang="en-US" sz="1200" noProof="0">
                <a:solidFill>
                  <a:schemeClr val="accent1"/>
                </a:solidFill>
                <a:latin typeface="Arial" panose="020B0604020202020204" pitchFamily="34" charset="0"/>
                <a:cs typeface="Arial" panose="020B0604020202020204" pitchFamily="34" charset="0"/>
              </a:rPr>
              <a:t>: Request a PUC-sponsored working group or docket on </a:t>
            </a:r>
            <a:r>
              <a:rPr lang="en-US" sz="1200" b="1" noProof="0">
                <a:solidFill>
                  <a:schemeClr val="accent1"/>
                </a:solidFill>
                <a:latin typeface="Arial" panose="020B0604020202020204" pitchFamily="34" charset="0"/>
                <a:cs typeface="Arial" panose="020B0604020202020204" pitchFamily="34" charset="0"/>
              </a:rPr>
              <a:t>decarbonized gas pathways</a:t>
            </a:r>
            <a:r>
              <a:rPr lang="en-US" sz="1200" noProof="0">
                <a:solidFill>
                  <a:schemeClr val="accent1"/>
                </a:solidFill>
                <a:latin typeface="Arial" panose="020B0604020202020204" pitchFamily="34" charset="0"/>
                <a:cs typeface="Arial" panose="020B0604020202020204" pitchFamily="34" charset="0"/>
              </a:rPr>
              <a:t>. This creates a formal venue for shaping hydrogen cost recovery and performance standard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Submit a Hydrogen Safety and Cost Recovery Plan</a:t>
            </a:r>
            <a:r>
              <a:rPr lang="en-US" sz="1200" noProof="0">
                <a:solidFill>
                  <a:schemeClr val="accent1"/>
                </a:solidFill>
                <a:latin typeface="Arial" panose="020B0604020202020204" pitchFamily="34" charset="0"/>
                <a:cs typeface="Arial" panose="020B0604020202020204" pitchFamily="34" charset="0"/>
              </a:rPr>
              <a:t>: Include hydrogen as part of Peoples' broader modernization filing or rate case—detailing safety protocols, cost tracking methods, and anticipated customer impact.</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Request Regulatory Flexibility</a:t>
            </a:r>
            <a:r>
              <a:rPr lang="en-US" sz="1200" noProof="0">
                <a:solidFill>
                  <a:schemeClr val="accent1"/>
                </a:solidFill>
                <a:latin typeface="Arial" panose="020B0604020202020204" pitchFamily="34" charset="0"/>
                <a:cs typeface="Arial" panose="020B0604020202020204" pitchFamily="34" charset="0"/>
              </a:rPr>
              <a:t>: Seek waivers or phased cost recovery mechanisms to cover R&amp;D, monitoring, and pilot deployment without full rate case delays.</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ith DOE Hydrogen Hub Partner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Apply for Pilot Demonstration Grants</a:t>
            </a:r>
            <a:r>
              <a:rPr lang="en-US" sz="1200" noProof="0">
                <a:solidFill>
                  <a:schemeClr val="accent1"/>
                </a:solidFill>
                <a:latin typeface="Arial" panose="020B0604020202020204" pitchFamily="34" charset="0"/>
                <a:cs typeface="Arial" panose="020B0604020202020204" pitchFamily="34" charset="0"/>
              </a:rPr>
              <a:t>: Target specific FOAs (Funding Opportunity Announcements) under the Mid-Atlantic Hydrogen Hub (MACH2) for community-scale blending pilots or infrastructure R&amp;D.</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Formalize Utility Participation</a:t>
            </a:r>
            <a:r>
              <a:rPr lang="en-US" sz="1200" noProof="0">
                <a:solidFill>
                  <a:schemeClr val="accent1"/>
                </a:solidFill>
                <a:latin typeface="Arial" panose="020B0604020202020204" pitchFamily="34" charset="0"/>
                <a:cs typeface="Arial" panose="020B0604020202020204" pitchFamily="34" charset="0"/>
              </a:rPr>
              <a:t>: Pursue an MOU or partnership framework with MACH2 leadership to ensure Peoples Gas is a </a:t>
            </a:r>
            <a:r>
              <a:rPr lang="en-US" sz="1200" b="1" noProof="0">
                <a:solidFill>
                  <a:schemeClr val="accent1"/>
                </a:solidFill>
                <a:latin typeface="Arial" panose="020B0604020202020204" pitchFamily="34" charset="0"/>
                <a:cs typeface="Arial" panose="020B0604020202020204" pitchFamily="34" charset="0"/>
              </a:rPr>
              <a:t>named partner in deployment activities</a:t>
            </a:r>
            <a:r>
              <a:rPr lang="en-US" sz="1200" noProof="0">
                <a:solidFill>
                  <a:schemeClr val="accent1"/>
                </a:solidFill>
                <a:latin typeface="Arial" panose="020B0604020202020204" pitchFamily="34" charset="0"/>
                <a:cs typeface="Arial" panose="020B0604020202020204" pitchFamily="34" charset="0"/>
              </a:rPr>
              <a:t>, enhancing visibility and funding acces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Share Use Case Data</a:t>
            </a:r>
            <a:r>
              <a:rPr lang="en-US" sz="1200" noProof="0">
                <a:solidFill>
                  <a:schemeClr val="accent1"/>
                </a:solidFill>
                <a:latin typeface="Arial" panose="020B0604020202020204" pitchFamily="34" charset="0"/>
                <a:cs typeface="Arial" panose="020B0604020202020204" pitchFamily="34" charset="0"/>
              </a:rPr>
              <a:t>: Provide DOE with data on blending feasibility, material performance, and customer feedback from any pilot zones—positioning Peoples as a data partner that can inform national standards.</a:t>
            </a:r>
          </a:p>
        </p:txBody>
      </p:sp>
      <p:pic>
        <p:nvPicPr>
          <p:cNvPr id="4" name="Picture 3" descr="A close-up of blue text&#10;&#10;AI-generated content may be incorrect.">
            <a:extLst>
              <a:ext uri="{FF2B5EF4-FFF2-40B4-BE49-F238E27FC236}">
                <a16:creationId xmlns:a16="http://schemas.microsoft.com/office/drawing/2014/main" id="{48E66556-7F81-18F2-D2EA-E72434F40C42}"/>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Slide Number Placeholder 23">
            <a:extLst>
              <a:ext uri="{FF2B5EF4-FFF2-40B4-BE49-F238E27FC236}">
                <a16:creationId xmlns:a16="http://schemas.microsoft.com/office/drawing/2014/main" id="{B4269573-F594-A255-02EE-A8BC25565E8D}"/>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4</a:t>
            </a:fld>
            <a:endParaRPr lang="en-US" b="1" noProof="0">
              <a:solidFill>
                <a:schemeClr val="accent1"/>
              </a:solidFill>
              <a:latin typeface="Arial" panose="020B0604020202020204" pitchFamily="34" charset="0"/>
              <a:cs typeface="Arial" panose="020B0604020202020204" pitchFamily="34" charset="0"/>
            </a:endParaRPr>
          </a:p>
        </p:txBody>
      </p:sp>
      <p:sp>
        <p:nvSpPr>
          <p:cNvPr id="8" name="Text Placeholder 1">
            <a:extLst>
              <a:ext uri="{FF2B5EF4-FFF2-40B4-BE49-F238E27FC236}">
                <a16:creationId xmlns:a16="http://schemas.microsoft.com/office/drawing/2014/main" id="{3E85F06A-5273-DE2D-63B4-5736D5D3DB0A}"/>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2530414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E3FB3-1EA8-CEDD-2E7B-CF58ED34AE0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F2159E4-526B-D925-A702-6C886F28DF19}"/>
              </a:ext>
            </a:extLst>
          </p:cNvPr>
          <p:cNvSpPr/>
          <p:nvPr/>
        </p:nvSpPr>
        <p:spPr>
          <a:xfrm>
            <a:off x="504371" y="2013858"/>
            <a:ext cx="11183257" cy="3182258"/>
          </a:xfrm>
          <a:prstGeom prst="rect">
            <a:avLst/>
          </a:prstGeom>
          <a:solidFill>
            <a:schemeClr val="accent1">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buNone/>
            </a:pPr>
            <a:r>
              <a:rPr lang="en-US" sz="1600" b="1" noProof="0">
                <a:solidFill>
                  <a:schemeClr val="accent1"/>
                </a:solidFill>
                <a:latin typeface="Arial" panose="020B0604020202020204" pitchFamily="34" charset="0"/>
                <a:cs typeface="Arial" panose="020B0604020202020204" pitchFamily="34" charset="0"/>
              </a:rPr>
              <a:t>Public Outreach &amp; Education</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at</a:t>
            </a:r>
            <a:r>
              <a:rPr lang="en-US" sz="1200" noProof="0">
                <a:solidFill>
                  <a:schemeClr val="accent1"/>
                </a:solidFill>
                <a:latin typeface="Arial" panose="020B0604020202020204" pitchFamily="34" charset="0"/>
                <a:cs typeface="Arial" panose="020B0604020202020204" pitchFamily="34" charset="0"/>
              </a:rPr>
              <a:t>: Launch a community-facing education campaign to build awareness and trust in hydrogen blending.</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Specific Actions:</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Create a dedicated microsite or dashboard</a:t>
            </a:r>
            <a:r>
              <a:rPr lang="en-US" sz="1200" noProof="0">
                <a:solidFill>
                  <a:schemeClr val="accent1"/>
                </a:solidFill>
                <a:latin typeface="Arial" panose="020B0604020202020204" pitchFamily="34" charset="0"/>
                <a:cs typeface="Arial" panose="020B0604020202020204" pitchFamily="34" charset="0"/>
              </a:rPr>
              <a:t> to show real-time pilot data, FAQs, safety updates, and blending progres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Host town halls and virtual Q&amp;A events</a:t>
            </a:r>
            <a:r>
              <a:rPr lang="en-US" sz="1200" noProof="0">
                <a:solidFill>
                  <a:schemeClr val="accent1"/>
                </a:solidFill>
                <a:latin typeface="Arial" panose="020B0604020202020204" pitchFamily="34" charset="0"/>
                <a:cs typeface="Arial" panose="020B0604020202020204" pitchFamily="34" charset="0"/>
              </a:rPr>
              <a:t> with customers, first responders, and local official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Partner with local universities and schools</a:t>
            </a:r>
            <a:r>
              <a:rPr lang="en-US" sz="1200" noProof="0">
                <a:solidFill>
                  <a:schemeClr val="accent1"/>
                </a:solidFill>
                <a:latin typeface="Arial" panose="020B0604020202020204" pitchFamily="34" charset="0"/>
                <a:cs typeface="Arial" panose="020B0604020202020204" pitchFamily="34" charset="0"/>
              </a:rPr>
              <a:t> to offer hydrogen awareness curriculum and engagement programs.</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Develop infographics, videos, and bill inserts</a:t>
            </a:r>
            <a:r>
              <a:rPr lang="en-US" sz="1200" noProof="0">
                <a:solidFill>
                  <a:schemeClr val="accent1"/>
                </a:solidFill>
                <a:latin typeface="Arial" panose="020B0604020202020204" pitchFamily="34" charset="0"/>
                <a:cs typeface="Arial" panose="020B0604020202020204" pitchFamily="34" charset="0"/>
              </a:rPr>
              <a:t> explaining hydrogen benefits and safety.</a:t>
            </a:r>
          </a:p>
          <a:p>
            <a:pPr>
              <a:buNone/>
            </a:pPr>
            <a:endParaRPr lang="en-US" sz="1200" b="1" noProof="0">
              <a:solidFill>
                <a:schemeClr val="accent1"/>
              </a:solidFill>
              <a:latin typeface="Arial" panose="020B0604020202020204" pitchFamily="34" charset="0"/>
              <a:cs typeface="Arial" panose="020B0604020202020204" pitchFamily="34" charset="0"/>
            </a:endParaRPr>
          </a:p>
          <a:p>
            <a:pPr>
              <a:buNone/>
            </a:pPr>
            <a:r>
              <a:rPr lang="en-US" sz="1200" b="1" noProof="0">
                <a:solidFill>
                  <a:schemeClr val="accent1"/>
                </a:solidFill>
                <a:latin typeface="Arial" panose="020B0604020202020204" pitchFamily="34" charset="0"/>
                <a:cs typeface="Arial" panose="020B0604020202020204" pitchFamily="34" charset="0"/>
              </a:rPr>
              <a:t>Why It Is Recommended:</a:t>
            </a:r>
            <a:endParaRPr lang="en-US" sz="1200" noProof="0">
              <a:solidFill>
                <a:schemeClr val="accent1"/>
              </a:solidFill>
              <a:latin typeface="Arial" panose="020B0604020202020204" pitchFamily="34" charset="0"/>
              <a:cs typeface="Arial" panose="020B0604020202020204" pitchFamily="34" charset="0"/>
            </a:endParaRP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Builds </a:t>
            </a:r>
            <a:r>
              <a:rPr lang="en-US" sz="1200" b="1" noProof="0">
                <a:solidFill>
                  <a:schemeClr val="accent1"/>
                </a:solidFill>
                <a:latin typeface="Arial" panose="020B0604020202020204" pitchFamily="34" charset="0"/>
                <a:cs typeface="Arial" panose="020B0604020202020204" pitchFamily="34" charset="0"/>
              </a:rPr>
              <a:t>community trust</a:t>
            </a:r>
            <a:r>
              <a:rPr lang="en-US" sz="1200" noProof="0">
                <a:solidFill>
                  <a:schemeClr val="accent1"/>
                </a:solidFill>
                <a:latin typeface="Arial" panose="020B0604020202020204" pitchFamily="34" charset="0"/>
                <a:cs typeface="Arial" panose="020B0604020202020204" pitchFamily="34" charset="0"/>
              </a:rPr>
              <a:t>, a critical factor in successful pilot execution.</a:t>
            </a:r>
          </a:p>
          <a:p>
            <a:pPr marL="628650" lvl="1" indent="-171450">
              <a:buFont typeface="Wingdings" panose="05000000000000000000" pitchFamily="2" charset="2"/>
              <a:buChar char="§"/>
            </a:pPr>
            <a:r>
              <a:rPr lang="en-US" sz="1200" b="1" noProof="0">
                <a:solidFill>
                  <a:schemeClr val="accent1"/>
                </a:solidFill>
                <a:latin typeface="Arial" panose="020B0604020202020204" pitchFamily="34" charset="0"/>
                <a:cs typeface="Arial" panose="020B0604020202020204" pitchFamily="34" charset="0"/>
              </a:rPr>
              <a:t>Reduces resistance </a:t>
            </a:r>
            <a:r>
              <a:rPr lang="en-US" sz="1200" noProof="0">
                <a:solidFill>
                  <a:schemeClr val="accent1"/>
                </a:solidFill>
                <a:latin typeface="Arial" panose="020B0604020202020204" pitchFamily="34" charset="0"/>
                <a:cs typeface="Arial" panose="020B0604020202020204" pitchFamily="34" charset="0"/>
              </a:rPr>
              <a:t>from residents, officials, and media by promoting transparency.</a:t>
            </a:r>
          </a:p>
          <a:p>
            <a:pPr marL="628650" lvl="1" indent="-171450">
              <a:buFont typeface="Wingdings" panose="05000000000000000000" pitchFamily="2" charset="2"/>
              <a:buChar char="§"/>
            </a:pPr>
            <a:r>
              <a:rPr lang="en-US" sz="1200" noProof="0">
                <a:solidFill>
                  <a:schemeClr val="accent1"/>
                </a:solidFill>
                <a:latin typeface="Arial" panose="020B0604020202020204" pitchFamily="34" charset="0"/>
                <a:cs typeface="Arial" panose="020B0604020202020204" pitchFamily="34" charset="0"/>
              </a:rPr>
              <a:t>Enhances Peoples' </a:t>
            </a:r>
            <a:r>
              <a:rPr lang="en-US" sz="1200" b="1" noProof="0">
                <a:solidFill>
                  <a:schemeClr val="accent1"/>
                </a:solidFill>
                <a:latin typeface="Arial" panose="020B0604020202020204" pitchFamily="34" charset="0"/>
                <a:cs typeface="Arial" panose="020B0604020202020204" pitchFamily="34" charset="0"/>
              </a:rPr>
              <a:t>public image as an innovative and responsible utility</a:t>
            </a:r>
            <a:r>
              <a:rPr lang="en-US" sz="1200" noProof="0">
                <a:solidFill>
                  <a:schemeClr val="accent1"/>
                </a:solidFill>
                <a:latin typeface="Arial" panose="020B0604020202020204" pitchFamily="34" charset="0"/>
                <a:cs typeface="Arial" panose="020B0604020202020204" pitchFamily="34" charset="0"/>
              </a:rPr>
              <a:t>.</a:t>
            </a:r>
          </a:p>
        </p:txBody>
      </p:sp>
      <p:pic>
        <p:nvPicPr>
          <p:cNvPr id="4" name="Picture 3" descr="A close-up of blue text&#10;&#10;AI-generated content may be incorrect.">
            <a:extLst>
              <a:ext uri="{FF2B5EF4-FFF2-40B4-BE49-F238E27FC236}">
                <a16:creationId xmlns:a16="http://schemas.microsoft.com/office/drawing/2014/main" id="{1AB47989-9E27-3908-8B18-AA6C234AC512}"/>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Slide Number Placeholder 23">
            <a:extLst>
              <a:ext uri="{FF2B5EF4-FFF2-40B4-BE49-F238E27FC236}">
                <a16:creationId xmlns:a16="http://schemas.microsoft.com/office/drawing/2014/main" id="{12AC565F-957B-5140-C8B3-DCD70332BF87}"/>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5</a:t>
            </a:fld>
            <a:endParaRPr lang="en-US" b="1" noProof="0">
              <a:solidFill>
                <a:schemeClr val="accent1"/>
              </a:solidFill>
              <a:latin typeface="Arial" panose="020B0604020202020204" pitchFamily="34" charset="0"/>
              <a:cs typeface="Arial" panose="020B0604020202020204" pitchFamily="34" charset="0"/>
            </a:endParaRPr>
          </a:p>
        </p:txBody>
      </p:sp>
      <p:sp>
        <p:nvSpPr>
          <p:cNvPr id="8" name="Text Placeholder 1">
            <a:extLst>
              <a:ext uri="{FF2B5EF4-FFF2-40B4-BE49-F238E27FC236}">
                <a16:creationId xmlns:a16="http://schemas.microsoft.com/office/drawing/2014/main" id="{BEEDEB9D-8745-CD9B-9137-426644AEC409}"/>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commendations and Next Steps: PA Hydrogen Blending Project</a:t>
            </a:r>
          </a:p>
        </p:txBody>
      </p:sp>
    </p:spTree>
    <p:extLst>
      <p:ext uri="{BB962C8B-B14F-4D97-AF65-F5344CB8AC3E}">
        <p14:creationId xmlns:p14="http://schemas.microsoft.com/office/powerpoint/2010/main" val="21959846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map of the united states&#10;&#10;Description automatically generated">
            <a:extLst>
              <a:ext uri="{FF2B5EF4-FFF2-40B4-BE49-F238E27FC236}">
                <a16:creationId xmlns:a16="http://schemas.microsoft.com/office/drawing/2014/main" id="{6B621E88-971D-8611-17B8-8AE9D2C9B4CD}"/>
              </a:ext>
            </a:extLst>
          </p:cNvPr>
          <p:cNvPicPr>
            <a:picLocks noChangeAspect="1"/>
          </p:cNvPicPr>
          <p:nvPr/>
        </p:nvPicPr>
        <p:blipFill>
          <a:blip r:embed="rId2"/>
          <a:stretch>
            <a:fillRect/>
          </a:stretch>
        </p:blipFill>
        <p:spPr>
          <a:xfrm>
            <a:off x="289591" y="1906462"/>
            <a:ext cx="6683000" cy="3045076"/>
          </a:xfrm>
          <a:prstGeom prst="rect">
            <a:avLst/>
          </a:prstGeom>
        </p:spPr>
      </p:pic>
      <p:pic>
        <p:nvPicPr>
          <p:cNvPr id="10" name="Picture 9" descr="A map of the united states with orange circles&#10;&#10;Description automatically generated">
            <a:extLst>
              <a:ext uri="{FF2B5EF4-FFF2-40B4-BE49-F238E27FC236}">
                <a16:creationId xmlns:a16="http://schemas.microsoft.com/office/drawing/2014/main" id="{65340E0A-1B82-C6DC-F9FD-F0CF7DA25C65}"/>
              </a:ext>
            </a:extLst>
          </p:cNvPr>
          <p:cNvPicPr>
            <a:picLocks noChangeAspect="1"/>
          </p:cNvPicPr>
          <p:nvPr/>
        </p:nvPicPr>
        <p:blipFill>
          <a:blip r:embed="rId3"/>
          <a:stretch>
            <a:fillRect/>
          </a:stretch>
        </p:blipFill>
        <p:spPr>
          <a:xfrm>
            <a:off x="7068631" y="1906463"/>
            <a:ext cx="4940965" cy="3045075"/>
          </a:xfrm>
          <a:prstGeom prst="rect">
            <a:avLst/>
          </a:prstGeom>
        </p:spPr>
      </p:pic>
      <p:sp>
        <p:nvSpPr>
          <p:cNvPr id="11" name="TextBox 10">
            <a:extLst>
              <a:ext uri="{FF2B5EF4-FFF2-40B4-BE49-F238E27FC236}">
                <a16:creationId xmlns:a16="http://schemas.microsoft.com/office/drawing/2014/main" id="{34A21E3A-81CA-7C7D-4B93-E57B0C50E450}"/>
              </a:ext>
            </a:extLst>
          </p:cNvPr>
          <p:cNvSpPr txBox="1"/>
          <p:nvPr/>
        </p:nvSpPr>
        <p:spPr>
          <a:xfrm>
            <a:off x="289591" y="4980720"/>
            <a:ext cx="2573140" cy="253916"/>
          </a:xfrm>
          <a:prstGeom prst="rect">
            <a:avLst/>
          </a:prstGeom>
          <a:noFill/>
        </p:spPr>
        <p:txBody>
          <a:bodyPr wrap="none" rtlCol="0">
            <a:spAutoFit/>
          </a:bodyPr>
          <a:lstStyle/>
          <a:p>
            <a:r>
              <a:rPr lang="en-US" sz="1050" i="1" noProof="0">
                <a:latin typeface="Arial" panose="020B0604020202020204" pitchFamily="34" charset="0"/>
                <a:cs typeface="Arial" panose="020B0604020202020204" pitchFamily="34" charset="0"/>
                <a:hlinkClick r:id="rId4"/>
              </a:rPr>
              <a:t>https://methanewatch.kayrros.com/map</a:t>
            </a:r>
            <a:r>
              <a:rPr lang="en-US" sz="1050" i="1" noProof="0">
                <a:latin typeface="Arial" panose="020B0604020202020204" pitchFamily="34" charset="0"/>
                <a:cs typeface="Arial" panose="020B0604020202020204" pitchFamily="34" charset="0"/>
              </a:rPr>
              <a:t> </a:t>
            </a:r>
          </a:p>
        </p:txBody>
      </p:sp>
      <p:sp>
        <p:nvSpPr>
          <p:cNvPr id="4" name="Text Placeholder 1">
            <a:extLst>
              <a:ext uri="{FF2B5EF4-FFF2-40B4-BE49-F238E27FC236}">
                <a16:creationId xmlns:a16="http://schemas.microsoft.com/office/drawing/2014/main" id="{EBBDF0FD-C9BE-D575-C753-74049B0627FA}"/>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Methane Watch - Kayrros</a:t>
            </a:r>
          </a:p>
        </p:txBody>
      </p:sp>
      <p:sp>
        <p:nvSpPr>
          <p:cNvPr id="9" name="Slide Number Placeholder 23">
            <a:extLst>
              <a:ext uri="{FF2B5EF4-FFF2-40B4-BE49-F238E27FC236}">
                <a16:creationId xmlns:a16="http://schemas.microsoft.com/office/drawing/2014/main" id="{48DE2947-5B3C-CA08-A07C-9E652C4B76E2}"/>
              </a:ext>
            </a:extLst>
          </p:cNvPr>
          <p:cNvSpPr txBox="1">
            <a:spLocks/>
          </p:cNvSpPr>
          <p:nvPr/>
        </p:nvSpPr>
        <p:spPr>
          <a:xfrm>
            <a:off x="11736020" y="6500213"/>
            <a:ext cx="45598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smtClean="0">
                <a:solidFill>
                  <a:schemeClr val="accent1"/>
                </a:solidFill>
                <a:latin typeface="Arial" panose="020B0604020202020204" pitchFamily="34" charset="0"/>
                <a:cs typeface="Arial" panose="020B0604020202020204" pitchFamily="34" charset="0"/>
              </a:rPr>
              <a:pPr/>
              <a:t>26</a:t>
            </a:fld>
            <a:endParaRPr lang="en-US" b="1">
              <a:solidFill>
                <a:schemeClr val="accent1"/>
              </a:solidFill>
              <a:latin typeface="Arial" panose="020B0604020202020204" pitchFamily="34" charset="0"/>
              <a:cs typeface="Arial" panose="020B0604020202020204" pitchFamily="34" charset="0"/>
            </a:endParaRPr>
          </a:p>
        </p:txBody>
      </p:sp>
      <p:pic>
        <p:nvPicPr>
          <p:cNvPr id="12" name="Picture 11" descr="A close-up of blue text&#10;&#10;AI-generated content may be incorrect.">
            <a:extLst>
              <a:ext uri="{FF2B5EF4-FFF2-40B4-BE49-F238E27FC236}">
                <a16:creationId xmlns:a16="http://schemas.microsoft.com/office/drawing/2014/main" id="{71574D89-5C79-6370-8036-FABF1C9A5820}"/>
              </a:ext>
            </a:extLst>
          </p:cNvPr>
          <p:cNvPicPr>
            <a:picLocks noChangeAspect="1"/>
          </p:cNvPicPr>
          <p:nvPr/>
        </p:nvPicPr>
        <p:blipFill>
          <a:blip r:embed="rId5"/>
          <a:stretch>
            <a:fillRect/>
          </a:stretch>
        </p:blipFill>
        <p:spPr>
          <a:xfrm>
            <a:off x="8272272" y="5940131"/>
            <a:ext cx="4666600" cy="1120163"/>
          </a:xfrm>
          <a:prstGeom prst="rect">
            <a:avLst/>
          </a:prstGeom>
        </p:spPr>
      </p:pic>
    </p:spTree>
    <p:extLst>
      <p:ext uri="{BB962C8B-B14F-4D97-AF65-F5344CB8AC3E}">
        <p14:creationId xmlns:p14="http://schemas.microsoft.com/office/powerpoint/2010/main" val="9155224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F215EFF2-C53B-92F2-A5F5-A6264917DB23}"/>
              </a:ext>
            </a:extLst>
          </p:cNvPr>
          <p:cNvSpPr txBox="1">
            <a:spLocks/>
          </p:cNvSpPr>
          <p:nvPr/>
        </p:nvSpPr>
        <p:spPr>
          <a:xfrm>
            <a:off x="789370" y="1602849"/>
            <a:ext cx="4864981" cy="4410024"/>
          </a:xfrm>
          <a:prstGeom prst="rect">
            <a:avLst/>
          </a:prstGeom>
          <a:solidFill>
            <a:schemeClr val="bg1"/>
          </a:solidFill>
        </p:spPr>
        <p:txBody>
          <a:bodyPr>
            <a:norm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buFont typeface="+mj-lt"/>
              <a:buAutoNum type="alphaLcParenR"/>
            </a:pPr>
            <a:r>
              <a:rPr lang="en-US" sz="1200" kern="100">
                <a:ea typeface="Aptos" panose="020B0004020202020204" pitchFamily="34" charset="0"/>
                <a:hlinkClick r:id="rId2"/>
              </a:rPr>
              <a:t>https://infraredcameras.com/</a:t>
            </a:r>
            <a:r>
              <a:rPr lang="en-US" sz="1200" kern="100" noProof="0">
                <a:ea typeface="Aptos" panose="020B0004020202020204" pitchFamily="34" charset="0"/>
              </a:rPr>
              <a:t> (Infrared Cameras)</a:t>
            </a:r>
          </a:p>
          <a:p>
            <a:pPr marL="228600" indent="-228600">
              <a:buFont typeface="+mj-lt"/>
              <a:buAutoNum type="alphaLcParenR"/>
            </a:pPr>
            <a:r>
              <a:rPr lang="en-US" sz="1200" u="sng" kern="100" noProof="0">
                <a:effectLst/>
                <a:ea typeface="Aptos" panose="020B0004020202020204" pitchFamily="34" charset="0"/>
                <a:hlinkClick r:id="rId3">
                  <a:extLst>
                    <a:ext uri="{A12FA001-AC4F-418D-AE19-62706E023703}">
                      <ahyp:hlinkClr xmlns:ahyp="http://schemas.microsoft.com/office/drawing/2018/hyperlinkcolor" val="tx"/>
                    </a:ext>
                  </a:extLst>
                </a:hlinkClick>
              </a:rPr>
              <a:t>https://www.flir.com/instruments/optical-gas-imaging/?form=MG0AV3</a:t>
            </a:r>
            <a:endParaRPr lang="en-US" sz="1200" kern="100" noProof="0">
              <a:ea typeface="Aptos" panose="020B0004020202020204" pitchFamily="34" charset="0"/>
            </a:endParaRPr>
          </a:p>
          <a:p>
            <a:pPr marL="228600" indent="-228600">
              <a:buFont typeface="+mj-lt"/>
              <a:buAutoNum type="alphaLcParenR"/>
            </a:pPr>
            <a:r>
              <a:rPr lang="en-US" sz="1200" u="sng" kern="100" noProof="0">
                <a:solidFill>
                  <a:srgbClr val="000000"/>
                </a:solidFill>
                <a:effectLst/>
                <a:ea typeface="Aptos" panose="020B0004020202020204" pitchFamily="34" charset="0"/>
                <a:hlinkClick r:id="rId4">
                  <a:extLst>
                    <a:ext uri="{A12FA001-AC4F-418D-AE19-62706E023703}">
                      <ahyp:hlinkClr xmlns:ahyp="http://schemas.microsoft.com/office/drawing/2018/hyperlinkcolor" val="tx"/>
                    </a:ext>
                  </a:extLst>
                </a:hlinkClick>
              </a:rPr>
              <a:t>What is Optical Gas Imaging? Explanation in a nutshell… - </a:t>
            </a:r>
            <a:r>
              <a:rPr lang="en-US" sz="1200" u="sng" kern="100" noProof="0" err="1">
                <a:effectLst/>
                <a:ea typeface="Aptos" panose="020B0004020202020204" pitchFamily="34" charset="0"/>
                <a:hlinkClick r:id="rId4">
                  <a:extLst>
                    <a:ext uri="{A12FA001-AC4F-418D-AE19-62706E023703}">
                      <ahyp:hlinkClr xmlns:ahyp="http://schemas.microsoft.com/office/drawing/2018/hyperlinkcolor" val="tx"/>
                    </a:ext>
                  </a:extLst>
                </a:hlinkClick>
              </a:rPr>
              <a:t>Opgal</a:t>
            </a:r>
            <a:endParaRPr lang="en-US" sz="1200" u="sng" kern="100" noProof="0">
              <a:ea typeface="Aptos" panose="020B0004020202020204" pitchFamily="34" charset="0"/>
            </a:endParaRPr>
          </a:p>
          <a:p>
            <a:pPr marL="228600" indent="-228600">
              <a:buFont typeface="+mj-lt"/>
              <a:buAutoNum type="alphaLcParenR"/>
            </a:pPr>
            <a:r>
              <a:rPr lang="en-US" sz="1200" kern="100" noProof="0">
                <a:ea typeface="Aptos" panose="020B0004020202020204" pitchFamily="34" charset="0"/>
                <a:hlinkClick r:id="rId5">
                  <a:extLst>
                    <a:ext uri="{A12FA001-AC4F-418D-AE19-62706E023703}">
                      <ahyp:hlinkClr xmlns:ahyp="http://schemas.microsoft.com/office/drawing/2018/hyperlinkcolor" val="tx"/>
                    </a:ext>
                  </a:extLst>
                </a:hlinkClick>
              </a:rPr>
              <a:t>https://www.ghgsat.com/en/</a:t>
            </a:r>
            <a:r>
              <a:rPr lang="en-US" sz="1200" kern="100" noProof="0">
                <a:ea typeface="Aptos" panose="020B0004020202020204" pitchFamily="34" charset="0"/>
              </a:rPr>
              <a:t> , </a:t>
            </a:r>
            <a:r>
              <a:rPr lang="en-US" sz="1200" kern="100" noProof="0">
                <a:ea typeface="Aptos" panose="020B0004020202020204" pitchFamily="34" charset="0"/>
                <a:hlinkClick r:id="rId6">
                  <a:extLst>
                    <a:ext uri="{A12FA001-AC4F-418D-AE19-62706E023703}">
                      <ahyp:hlinkClr xmlns:ahyp="http://schemas.microsoft.com/office/drawing/2018/hyperlinkcolor" val="tx"/>
                    </a:ext>
                  </a:extLst>
                </a:hlinkClick>
              </a:rPr>
              <a:t>https://www.kayrros.com/</a:t>
            </a:r>
            <a:r>
              <a:rPr lang="en-US" sz="1200" kern="100" noProof="0">
                <a:ea typeface="Aptos" panose="020B0004020202020204" pitchFamily="34" charset="0"/>
              </a:rPr>
              <a:t>, </a:t>
            </a:r>
            <a:r>
              <a:rPr lang="en-US" sz="1200" kern="100" noProof="0">
                <a:ea typeface="Aptos" panose="020B0004020202020204" pitchFamily="34" charset="0"/>
                <a:hlinkClick r:id="rId7"/>
              </a:rPr>
              <a:t>https://www.satelytics.com/solutions/pipeline</a:t>
            </a:r>
            <a:r>
              <a:rPr lang="en-US" sz="1200" kern="100" noProof="0">
                <a:ea typeface="Aptos" panose="020B0004020202020204" pitchFamily="34" charset="0"/>
              </a:rPr>
              <a:t>  </a:t>
            </a:r>
          </a:p>
          <a:p>
            <a:pPr marL="228600" indent="-228600">
              <a:buFont typeface="+mj-lt"/>
              <a:buAutoNum type="alphaLcParenR"/>
            </a:pPr>
            <a:r>
              <a:rPr lang="en-US" sz="1200" u="sng" kern="100" noProof="0">
                <a:ea typeface="Aptos" panose="020B0004020202020204" pitchFamily="34" charset="0"/>
              </a:rPr>
              <a:t>The power of AI: How oil/gas companies are using AI-powered geospatial analytics to identify and prevent potential leaks | Gas Processing &amp; LNG (gasprocessingnews.com) </a:t>
            </a:r>
            <a:endParaRPr lang="en-US" sz="1200" kern="100" noProof="0">
              <a:ea typeface="Aptos" panose="020B0004020202020204" pitchFamily="34" charset="0"/>
            </a:endParaRPr>
          </a:p>
          <a:p>
            <a:pPr marL="228600" indent="-228600">
              <a:buFont typeface="+mj-lt"/>
              <a:buAutoNum type="alphaLcParenR"/>
            </a:pPr>
            <a:r>
              <a:rPr lang="en-US" sz="1200" u="sng" kern="100" noProof="0">
                <a:ea typeface="Aptos" panose="020B0004020202020204" pitchFamily="34" charset="0"/>
                <a:hlinkClick r:id="rId8">
                  <a:extLst>
                    <a:ext uri="{A12FA001-AC4F-418D-AE19-62706E023703}">
                      <ahyp:hlinkClr xmlns:ahyp="http://schemas.microsoft.com/office/drawing/2018/hyperlinkcolor" val="tx"/>
                    </a:ext>
                  </a:extLst>
                </a:hlinkClick>
              </a:rPr>
              <a:t>https://www.datacenters.com/news/why-northern-virginia-dominates-the-data-center-market-who-s-building-and-where</a:t>
            </a:r>
            <a:endParaRPr lang="en-US" sz="1200" u="sng" kern="100" noProof="0">
              <a:ea typeface="Aptos" panose="020B0004020202020204" pitchFamily="34" charset="0"/>
            </a:endParaRPr>
          </a:p>
          <a:p>
            <a:pPr marL="228600" indent="-228600">
              <a:buFont typeface="+mj-lt"/>
              <a:buAutoNum type="alphaLcParenR"/>
            </a:pPr>
            <a:r>
              <a:rPr lang="en-US" sz="1200" u="sng" kern="100" noProof="0">
                <a:ea typeface="Aptos" panose="020B0004020202020204" pitchFamily="34" charset="0"/>
                <a:hlinkClick r:id="rId9">
                  <a:extLst>
                    <a:ext uri="{A12FA001-AC4F-418D-AE19-62706E023703}">
                      <ahyp:hlinkClr xmlns:ahyp="http://schemas.microsoft.com/office/drawing/2018/hyperlinkcolor" val="tx"/>
                    </a:ext>
                  </a:extLst>
                </a:hlinkClick>
              </a:rPr>
              <a:t>https://blog.vantage-dc.com/2020/08/21/what-made-northern-virginia-the-worlds-largest-data-center-market/</a:t>
            </a:r>
            <a:r>
              <a:rPr lang="en-US" sz="1200" kern="100" noProof="0">
                <a:ea typeface="Aptos" panose="020B0004020202020204" pitchFamily="34" charset="0"/>
              </a:rPr>
              <a:t> </a:t>
            </a:r>
          </a:p>
          <a:p>
            <a:pPr marL="228600" indent="-228600">
              <a:buFont typeface="+mj-lt"/>
              <a:buAutoNum type="alphaLcParenR"/>
            </a:pPr>
            <a:r>
              <a:rPr lang="en-US" sz="1200" kern="100" noProof="0">
                <a:ea typeface="Aptos" panose="020B0004020202020204" pitchFamily="34" charset="0"/>
                <a:hlinkClick r:id="rId10">
                  <a:extLst>
                    <a:ext uri="{A12FA001-AC4F-418D-AE19-62706E023703}">
                      <ahyp:hlinkClr xmlns:ahyp="http://schemas.microsoft.com/office/drawing/2018/hyperlinkcolor" val="tx"/>
                    </a:ext>
                  </a:extLst>
                </a:hlinkClick>
              </a:rPr>
              <a:t>https://www.dominionenergy.com/virginia/rates-and-tariffs/business-rates</a:t>
            </a:r>
            <a:r>
              <a:rPr lang="en-US" sz="1200" kern="100" noProof="0">
                <a:ea typeface="Aptos" panose="020B0004020202020204" pitchFamily="34" charset="0"/>
              </a:rPr>
              <a:t> - Rates of Dominion </a:t>
            </a:r>
          </a:p>
          <a:p>
            <a:pPr marL="228600" indent="-228600">
              <a:buFont typeface="+mj-lt"/>
              <a:buAutoNum type="alphaLcParenR"/>
            </a:pPr>
            <a:r>
              <a:rPr lang="en-US" sz="1200" kern="100" noProof="0">
                <a:ea typeface="Aptos" panose="020B0004020202020204" pitchFamily="34" charset="0"/>
                <a:hlinkClick r:id="rId11"/>
              </a:rPr>
              <a:t>https://www.pecva.org/our-work/energy-matters/data-centers-energy-demand/</a:t>
            </a:r>
            <a:r>
              <a:rPr lang="en-US" sz="1200" kern="100" noProof="0">
                <a:ea typeface="Aptos" panose="020B0004020202020204" pitchFamily="34" charset="0"/>
              </a:rPr>
              <a:t> </a:t>
            </a:r>
          </a:p>
          <a:p>
            <a:pPr marL="228600" indent="-228600">
              <a:buFont typeface="+mj-lt"/>
              <a:buAutoNum type="alphaLcParenR"/>
            </a:pPr>
            <a:r>
              <a:rPr lang="en-US" sz="1200" kern="100" noProof="0">
                <a:ea typeface="Aptos" panose="020B0004020202020204" pitchFamily="34" charset="0"/>
                <a:hlinkClick r:id="rId12"/>
              </a:rPr>
              <a:t>https://datacenterhawk.com/resources/market-insights/why-the-northern-virginia-data-center-market-keeps-growing</a:t>
            </a:r>
            <a:r>
              <a:rPr lang="en-US" sz="1200" kern="100" noProof="0">
                <a:ea typeface="Aptos" panose="020B0004020202020204" pitchFamily="34" charset="0"/>
              </a:rPr>
              <a:t> </a:t>
            </a:r>
          </a:p>
          <a:p>
            <a:pPr>
              <a:buFont typeface="+mj-lt"/>
              <a:buAutoNum type="alphaLcParenR"/>
            </a:pPr>
            <a:endParaRPr lang="en-US" sz="1200" kern="100" noProof="0">
              <a:ea typeface="Aptos" panose="020B0004020202020204" pitchFamily="34" charset="0"/>
            </a:endParaRPr>
          </a:p>
        </p:txBody>
      </p:sp>
      <p:pic>
        <p:nvPicPr>
          <p:cNvPr id="16" name="Picture 15" descr="A close-up of a paper&#10;&#10;Description automatically generated">
            <a:extLst>
              <a:ext uri="{FF2B5EF4-FFF2-40B4-BE49-F238E27FC236}">
                <a16:creationId xmlns:a16="http://schemas.microsoft.com/office/drawing/2014/main" id="{C86865B6-7FF7-1B07-A850-CEF1FE80EF5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27947" y="1043427"/>
            <a:ext cx="3864627" cy="4771145"/>
          </a:xfrm>
          <a:prstGeom prst="rect">
            <a:avLst/>
          </a:prstGeom>
        </p:spPr>
      </p:pic>
      <p:sp>
        <p:nvSpPr>
          <p:cNvPr id="2" name="Text Placeholder 1">
            <a:extLst>
              <a:ext uri="{FF2B5EF4-FFF2-40B4-BE49-F238E27FC236}">
                <a16:creationId xmlns:a16="http://schemas.microsoft.com/office/drawing/2014/main" id="{06099706-2383-3FB8-56AA-AAEBB4F7906C}"/>
              </a:ext>
            </a:extLst>
          </p:cNvPr>
          <p:cNvSpPr txBox="1">
            <a:spLocks/>
          </p:cNvSpPr>
          <p:nvPr/>
        </p:nvSpPr>
        <p:spPr>
          <a:xfrm>
            <a:off x="670850" y="109076"/>
            <a:ext cx="7251624" cy="679412"/>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ferences: PA Hydrogen Blending Project</a:t>
            </a:r>
          </a:p>
        </p:txBody>
      </p:sp>
      <p:pic>
        <p:nvPicPr>
          <p:cNvPr id="3" name="Picture 2" descr="A close-up of blue text&#10;&#10;AI-generated content may be incorrect.">
            <a:extLst>
              <a:ext uri="{FF2B5EF4-FFF2-40B4-BE49-F238E27FC236}">
                <a16:creationId xmlns:a16="http://schemas.microsoft.com/office/drawing/2014/main" id="{15F277D9-2130-2388-41F7-7CA6C5626E1B}"/>
              </a:ext>
            </a:extLst>
          </p:cNvPr>
          <p:cNvPicPr>
            <a:picLocks noChangeAspect="1"/>
          </p:cNvPicPr>
          <p:nvPr/>
        </p:nvPicPr>
        <p:blipFill>
          <a:blip r:embed="rId14"/>
          <a:stretch>
            <a:fillRect/>
          </a:stretch>
        </p:blipFill>
        <p:spPr>
          <a:xfrm>
            <a:off x="8139914" y="5948865"/>
            <a:ext cx="4666600" cy="1120163"/>
          </a:xfrm>
          <a:prstGeom prst="rect">
            <a:avLst/>
          </a:prstGeom>
        </p:spPr>
      </p:pic>
      <p:sp>
        <p:nvSpPr>
          <p:cNvPr id="4" name="Slide Number Placeholder 23">
            <a:extLst>
              <a:ext uri="{FF2B5EF4-FFF2-40B4-BE49-F238E27FC236}">
                <a16:creationId xmlns:a16="http://schemas.microsoft.com/office/drawing/2014/main" id="{2F5AC832-56D2-4FBA-4CE4-FB2597A165A2}"/>
              </a:ext>
            </a:extLst>
          </p:cNvPr>
          <p:cNvSpPr txBox="1">
            <a:spLocks/>
          </p:cNvSpPr>
          <p:nvPr/>
        </p:nvSpPr>
        <p:spPr>
          <a:xfrm>
            <a:off x="11736020" y="6500213"/>
            <a:ext cx="45598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smtClean="0">
                <a:solidFill>
                  <a:schemeClr val="accent1"/>
                </a:solidFill>
                <a:latin typeface="Arial" panose="020B0604020202020204" pitchFamily="34" charset="0"/>
                <a:cs typeface="Arial" panose="020B0604020202020204" pitchFamily="34" charset="0"/>
              </a:rPr>
              <a:pPr/>
              <a:t>27</a:t>
            </a:fld>
            <a:endParaRPr lang="en-US"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16946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a:extLst>
            <a:ext uri="{FF2B5EF4-FFF2-40B4-BE49-F238E27FC236}">
              <a16:creationId xmlns:a16="http://schemas.microsoft.com/office/drawing/2014/main" id="{6784AB01-F173-3825-D5C8-944B6BE129D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66A75F1-5D54-BA16-C260-1211F274F37B}"/>
              </a:ext>
            </a:extLst>
          </p:cNvPr>
          <p:cNvSpPr/>
          <p:nvPr/>
        </p:nvSpPr>
        <p:spPr>
          <a:xfrm>
            <a:off x="0" y="279400"/>
            <a:ext cx="277792" cy="65785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 name="Group 10">
            <a:extLst>
              <a:ext uri="{FF2B5EF4-FFF2-40B4-BE49-F238E27FC236}">
                <a16:creationId xmlns:a16="http://schemas.microsoft.com/office/drawing/2014/main" id="{59CCAF25-A23F-B998-C336-633A00C721BC}"/>
              </a:ext>
            </a:extLst>
          </p:cNvPr>
          <p:cNvGrpSpPr/>
          <p:nvPr/>
        </p:nvGrpSpPr>
        <p:grpSpPr>
          <a:xfrm>
            <a:off x="0" y="1"/>
            <a:ext cx="277813" cy="276924"/>
            <a:chOff x="0" y="0"/>
            <a:chExt cx="555625" cy="553847"/>
          </a:xfrm>
        </p:grpSpPr>
        <p:sp>
          <p:nvSpPr>
            <p:cNvPr id="13" name="Freeform 11">
              <a:extLst>
                <a:ext uri="{FF2B5EF4-FFF2-40B4-BE49-F238E27FC236}">
                  <a16:creationId xmlns:a16="http://schemas.microsoft.com/office/drawing/2014/main" id="{3CF91527-A7E4-D847-5C2E-00872F45F7A8}"/>
                </a:ext>
              </a:extLst>
            </p:cNvPr>
            <p:cNvSpPr/>
            <p:nvPr/>
          </p:nvSpPr>
          <p:spPr>
            <a:xfrm>
              <a:off x="0" y="0"/>
              <a:ext cx="555625" cy="553847"/>
            </a:xfrm>
            <a:custGeom>
              <a:avLst/>
              <a:gdLst/>
              <a:ahLst/>
              <a:cxnLst/>
              <a:rect l="l" t="t" r="r" b="b"/>
              <a:pathLst>
                <a:path w="555625" h="553847">
                  <a:moveTo>
                    <a:pt x="0" y="0"/>
                  </a:moveTo>
                  <a:lnTo>
                    <a:pt x="555625" y="0"/>
                  </a:lnTo>
                  <a:lnTo>
                    <a:pt x="555625" y="553847"/>
                  </a:lnTo>
                  <a:lnTo>
                    <a:pt x="0" y="553847"/>
                  </a:lnTo>
                  <a:close/>
                </a:path>
              </a:pathLst>
            </a:custGeom>
            <a:solidFill>
              <a:srgbClr val="003493"/>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sp>
        <p:nvSpPr>
          <p:cNvPr id="16" name="Text Placeholder 1">
            <a:extLst>
              <a:ext uri="{FF2B5EF4-FFF2-40B4-BE49-F238E27FC236}">
                <a16:creationId xmlns:a16="http://schemas.microsoft.com/office/drawing/2014/main" id="{E2CE7C88-2EF8-5C8F-EB18-A907318051FD}"/>
              </a:ext>
            </a:extLst>
          </p:cNvPr>
          <p:cNvSpPr txBox="1">
            <a:spLocks/>
          </p:cNvSpPr>
          <p:nvPr/>
        </p:nvSpPr>
        <p:spPr>
          <a:xfrm>
            <a:off x="668307" y="2436497"/>
            <a:ext cx="979412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4400" b="1" noProof="0">
                <a:solidFill>
                  <a:schemeClr val="accent1"/>
                </a:solidFill>
              </a:rPr>
              <a:t>Appendix Part 2: Data Centers Strategy</a:t>
            </a:r>
          </a:p>
        </p:txBody>
      </p:sp>
      <p:sp>
        <p:nvSpPr>
          <p:cNvPr id="19" name="Slide Number Placeholder 23">
            <a:extLst>
              <a:ext uri="{FF2B5EF4-FFF2-40B4-BE49-F238E27FC236}">
                <a16:creationId xmlns:a16="http://schemas.microsoft.com/office/drawing/2014/main" id="{B005361A-D340-3E00-0172-91257B5A9176}"/>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8</a:t>
            </a:fld>
            <a:endParaRPr lang="en-US" b="1" noProof="0">
              <a:solidFill>
                <a:schemeClr val="accent1"/>
              </a:solidFill>
              <a:latin typeface="Arial" panose="020B0604020202020204" pitchFamily="34" charset="0"/>
              <a:cs typeface="Arial" panose="020B0604020202020204" pitchFamily="34" charset="0"/>
            </a:endParaRPr>
          </a:p>
        </p:txBody>
      </p:sp>
      <p:pic>
        <p:nvPicPr>
          <p:cNvPr id="2" name="Picture 1" descr="A close-up of blue text&#10;&#10;AI-generated content may be incorrect.">
            <a:extLst>
              <a:ext uri="{FF2B5EF4-FFF2-40B4-BE49-F238E27FC236}">
                <a16:creationId xmlns:a16="http://schemas.microsoft.com/office/drawing/2014/main" id="{E2A18BAA-546C-FC36-8740-9861C8B258BE}"/>
              </a:ext>
            </a:extLst>
          </p:cNvPr>
          <p:cNvPicPr>
            <a:picLocks noChangeAspect="1"/>
          </p:cNvPicPr>
          <p:nvPr/>
        </p:nvPicPr>
        <p:blipFill>
          <a:blip r:embed="rId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39860166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D1853-5310-EF8D-44F0-40D3DEFDEDCF}"/>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2291604F-450D-75CC-ACA5-0168BDC27265}"/>
              </a:ext>
            </a:extLst>
          </p:cNvPr>
          <p:cNvSpPr/>
          <p:nvPr/>
        </p:nvSpPr>
        <p:spPr>
          <a:xfrm>
            <a:off x="6338118" y="3713179"/>
            <a:ext cx="3663026" cy="2009775"/>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AF96251-AF79-3C91-7024-B2BE88E835C2}"/>
              </a:ext>
            </a:extLst>
          </p:cNvPr>
          <p:cNvSpPr/>
          <p:nvPr/>
        </p:nvSpPr>
        <p:spPr>
          <a:xfrm>
            <a:off x="2560152" y="3713179"/>
            <a:ext cx="3663026" cy="2009775"/>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58A3C61-5580-CFFC-0E73-8CFCB430414F}"/>
              </a:ext>
            </a:extLst>
          </p:cNvPr>
          <p:cNvSpPr/>
          <p:nvPr/>
        </p:nvSpPr>
        <p:spPr>
          <a:xfrm>
            <a:off x="8207731" y="1609724"/>
            <a:ext cx="3663026" cy="200977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BF770C8-6DDE-0611-3351-1246B82C8658}"/>
              </a:ext>
            </a:extLst>
          </p:cNvPr>
          <p:cNvSpPr/>
          <p:nvPr/>
        </p:nvSpPr>
        <p:spPr>
          <a:xfrm>
            <a:off x="4439290" y="1609724"/>
            <a:ext cx="3663026" cy="2009775"/>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4D3FF51-E1CC-2AF1-1579-BD4C29573889}"/>
              </a:ext>
            </a:extLst>
          </p:cNvPr>
          <p:cNvSpPr/>
          <p:nvPr/>
        </p:nvSpPr>
        <p:spPr>
          <a:xfrm>
            <a:off x="670849" y="1609724"/>
            <a:ext cx="3663026" cy="200977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Content Placeholder 2">
            <a:extLst>
              <a:ext uri="{FF2B5EF4-FFF2-40B4-BE49-F238E27FC236}">
                <a16:creationId xmlns:a16="http://schemas.microsoft.com/office/drawing/2014/main" id="{D7D69FAC-2AC0-86C9-F533-2431E052B23A}"/>
              </a:ext>
            </a:extLst>
          </p:cNvPr>
          <p:cNvGraphicFramePr>
            <a:graphicFrameLocks/>
          </p:cNvGraphicFramePr>
          <p:nvPr>
            <p:extLst>
              <p:ext uri="{D42A27DB-BD31-4B8C-83A1-F6EECF244321}">
                <p14:modId xmlns:p14="http://schemas.microsoft.com/office/powerpoint/2010/main" val="2098437031"/>
              </p:ext>
            </p:extLst>
          </p:nvPr>
        </p:nvGraphicFramePr>
        <p:xfrm>
          <a:off x="798786" y="1438765"/>
          <a:ext cx="10944035" cy="44514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23">
            <a:extLst>
              <a:ext uri="{FF2B5EF4-FFF2-40B4-BE49-F238E27FC236}">
                <a16:creationId xmlns:a16="http://schemas.microsoft.com/office/drawing/2014/main" id="{62FCCF81-B11D-0CDD-1A19-5E87DBC385FC}"/>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29</a:t>
            </a:fld>
            <a:endParaRPr lang="en-US" b="1" noProof="0">
              <a:solidFill>
                <a:schemeClr val="accent1"/>
              </a:solidFill>
              <a:latin typeface="Arial" panose="020B0604020202020204" pitchFamily="34" charset="0"/>
              <a:cs typeface="Arial" panose="020B0604020202020204" pitchFamily="34" charset="0"/>
            </a:endParaRPr>
          </a:p>
        </p:txBody>
      </p:sp>
      <p:sp>
        <p:nvSpPr>
          <p:cNvPr id="7" name="Text Placeholder 1">
            <a:extLst>
              <a:ext uri="{FF2B5EF4-FFF2-40B4-BE49-F238E27FC236}">
                <a16:creationId xmlns:a16="http://schemas.microsoft.com/office/drawing/2014/main" id="{178E706F-95FF-1C22-C67A-43C0D91FA826}"/>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Data Center Market Research: </a:t>
            </a:r>
            <a:br>
              <a:rPr lang="en-US" sz="3200" b="1">
                <a:solidFill>
                  <a:schemeClr val="accent1"/>
                </a:solidFill>
                <a:latin typeface="Arial"/>
                <a:cs typeface="Arial"/>
              </a:rPr>
            </a:br>
            <a:r>
              <a:rPr lang="en-US" sz="3200" b="1" noProof="0">
                <a:solidFill>
                  <a:schemeClr val="accent1"/>
                </a:solidFill>
                <a:latin typeface="Arial"/>
                <a:cs typeface="Arial"/>
              </a:rPr>
              <a:t>Northern Virginia Incentives </a:t>
            </a:r>
          </a:p>
        </p:txBody>
      </p:sp>
      <p:graphicFrame>
        <p:nvGraphicFramePr>
          <p:cNvPr id="5" name="Diagram 4">
            <a:extLst>
              <a:ext uri="{FF2B5EF4-FFF2-40B4-BE49-F238E27FC236}">
                <a16:creationId xmlns:a16="http://schemas.microsoft.com/office/drawing/2014/main" id="{54AB6E25-2E44-332F-2682-293F65DDF10E}"/>
              </a:ext>
            </a:extLst>
          </p:cNvPr>
          <p:cNvGraphicFramePr/>
          <p:nvPr>
            <p:extLst>
              <p:ext uri="{D42A27DB-BD31-4B8C-83A1-F6EECF244321}">
                <p14:modId xmlns:p14="http://schemas.microsoft.com/office/powerpoint/2010/main" val="3283145809"/>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7" descr="A close-up of blue text&#10;&#10;AI-generated content may be incorrect.">
            <a:extLst>
              <a:ext uri="{FF2B5EF4-FFF2-40B4-BE49-F238E27FC236}">
                <a16:creationId xmlns:a16="http://schemas.microsoft.com/office/drawing/2014/main" id="{BDEBD481-7453-03A9-1EB2-A4A415D20DAA}"/>
              </a:ext>
            </a:extLst>
          </p:cNvPr>
          <p:cNvPicPr>
            <a:picLocks noChangeAspect="1"/>
          </p:cNvPicPr>
          <p:nvPr/>
        </p:nvPicPr>
        <p:blipFill>
          <a:blip r:embed="rId1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835244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C4D582-6CAC-3D05-A95C-5DFBAFF59DC3}"/>
            </a:ext>
          </a:extLst>
        </p:cNvPr>
        <p:cNvGrpSpPr/>
        <p:nvPr/>
      </p:nvGrpSpPr>
      <p:grpSpPr>
        <a:xfrm>
          <a:off x="0" y="0"/>
          <a:ext cx="0" cy="0"/>
          <a:chOff x="0" y="0"/>
          <a:chExt cx="0" cy="0"/>
        </a:xfrm>
      </p:grpSpPr>
      <p:sp>
        <p:nvSpPr>
          <p:cNvPr id="7" name="Freeform 7" descr="A blue and white checkered flag  Description automatically generated">
            <a:extLst>
              <a:ext uri="{FF2B5EF4-FFF2-40B4-BE49-F238E27FC236}">
                <a16:creationId xmlns:a16="http://schemas.microsoft.com/office/drawing/2014/main" id="{4A6831EE-8FF0-9F61-AE91-FA78EAA45A2C}"/>
              </a:ext>
            </a:extLst>
          </p:cNvPr>
          <p:cNvSpPr/>
          <p:nvPr/>
        </p:nvSpPr>
        <p:spPr>
          <a:xfrm>
            <a:off x="277792" y="0"/>
            <a:ext cx="277793" cy="277793"/>
          </a:xfrm>
          <a:custGeom>
            <a:avLst/>
            <a:gdLst/>
            <a:ahLst/>
            <a:cxnLst/>
            <a:rect l="l" t="t" r="r" b="b"/>
            <a:pathLst>
              <a:path w="416690" h="416690">
                <a:moveTo>
                  <a:pt x="0" y="0"/>
                </a:moveTo>
                <a:lnTo>
                  <a:pt x="416690" y="0"/>
                </a:lnTo>
                <a:lnTo>
                  <a:pt x="416690" y="416690"/>
                </a:lnTo>
                <a:lnTo>
                  <a:pt x="0" y="416690"/>
                </a:lnTo>
                <a:lnTo>
                  <a:pt x="0" y="0"/>
                </a:lnTo>
                <a:close/>
              </a:path>
            </a:pathLst>
          </a:custGeom>
          <a:blipFill>
            <a:blip r:embed="rId3"/>
            <a:stretch>
              <a:fillRect/>
            </a:stretch>
          </a:blip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nvGrpSpPr>
          <p:cNvPr id="8" name="Group 8">
            <a:extLst>
              <a:ext uri="{FF2B5EF4-FFF2-40B4-BE49-F238E27FC236}">
                <a16:creationId xmlns:a16="http://schemas.microsoft.com/office/drawing/2014/main" id="{8B0EEA40-DB95-FBCB-6BA8-8EE231342102}"/>
              </a:ext>
            </a:extLst>
          </p:cNvPr>
          <p:cNvGrpSpPr/>
          <p:nvPr/>
        </p:nvGrpSpPr>
        <p:grpSpPr>
          <a:xfrm>
            <a:off x="0" y="276932"/>
            <a:ext cx="277792" cy="6581068"/>
            <a:chOff x="0" y="0"/>
            <a:chExt cx="555584" cy="13162136"/>
          </a:xfrm>
        </p:grpSpPr>
        <p:sp>
          <p:nvSpPr>
            <p:cNvPr id="9" name="Freeform 9">
              <a:extLst>
                <a:ext uri="{FF2B5EF4-FFF2-40B4-BE49-F238E27FC236}">
                  <a16:creationId xmlns:a16="http://schemas.microsoft.com/office/drawing/2014/main" id="{199CBC3F-163B-8024-3045-3E4116B82B3A}"/>
                </a:ext>
              </a:extLst>
            </p:cNvPr>
            <p:cNvSpPr/>
            <p:nvPr/>
          </p:nvSpPr>
          <p:spPr>
            <a:xfrm>
              <a:off x="0" y="0"/>
              <a:ext cx="555625" cy="13162153"/>
            </a:xfrm>
            <a:custGeom>
              <a:avLst/>
              <a:gdLst/>
              <a:ahLst/>
              <a:cxnLst/>
              <a:rect l="l" t="t" r="r" b="b"/>
              <a:pathLst>
                <a:path w="555625" h="13162153">
                  <a:moveTo>
                    <a:pt x="0" y="0"/>
                  </a:moveTo>
                  <a:lnTo>
                    <a:pt x="555625" y="0"/>
                  </a:lnTo>
                  <a:lnTo>
                    <a:pt x="555625" y="13162153"/>
                  </a:lnTo>
                  <a:lnTo>
                    <a:pt x="0" y="13162153"/>
                  </a:lnTo>
                  <a:close/>
                </a:path>
              </a:pathLst>
            </a:custGeom>
            <a:solidFill>
              <a:srgbClr val="FFB81C"/>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grpSp>
        <p:nvGrpSpPr>
          <p:cNvPr id="10" name="Group 10">
            <a:extLst>
              <a:ext uri="{FF2B5EF4-FFF2-40B4-BE49-F238E27FC236}">
                <a16:creationId xmlns:a16="http://schemas.microsoft.com/office/drawing/2014/main" id="{5955ECEE-F2FD-6D7B-BDE4-4C5AAD6A88FA}"/>
              </a:ext>
            </a:extLst>
          </p:cNvPr>
          <p:cNvGrpSpPr/>
          <p:nvPr/>
        </p:nvGrpSpPr>
        <p:grpSpPr>
          <a:xfrm>
            <a:off x="0" y="1"/>
            <a:ext cx="277795" cy="276931"/>
            <a:chOff x="0" y="0"/>
            <a:chExt cx="555589" cy="553861"/>
          </a:xfrm>
        </p:grpSpPr>
        <p:sp>
          <p:nvSpPr>
            <p:cNvPr id="11" name="Freeform 11">
              <a:extLst>
                <a:ext uri="{FF2B5EF4-FFF2-40B4-BE49-F238E27FC236}">
                  <a16:creationId xmlns:a16="http://schemas.microsoft.com/office/drawing/2014/main" id="{DB6C8883-111B-BECE-9666-690351D056EE}"/>
                </a:ext>
              </a:extLst>
            </p:cNvPr>
            <p:cNvSpPr/>
            <p:nvPr/>
          </p:nvSpPr>
          <p:spPr>
            <a:xfrm>
              <a:off x="0" y="0"/>
              <a:ext cx="555625" cy="553847"/>
            </a:xfrm>
            <a:custGeom>
              <a:avLst/>
              <a:gdLst/>
              <a:ahLst/>
              <a:cxnLst/>
              <a:rect l="l" t="t" r="r" b="b"/>
              <a:pathLst>
                <a:path w="555625" h="553847">
                  <a:moveTo>
                    <a:pt x="0" y="0"/>
                  </a:moveTo>
                  <a:lnTo>
                    <a:pt x="555625" y="0"/>
                  </a:lnTo>
                  <a:lnTo>
                    <a:pt x="555625" y="553847"/>
                  </a:lnTo>
                  <a:lnTo>
                    <a:pt x="0" y="553847"/>
                  </a:lnTo>
                  <a:close/>
                </a:path>
              </a:pathLst>
            </a:custGeom>
            <a:solidFill>
              <a:srgbClr val="003493"/>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sp>
        <p:nvSpPr>
          <p:cNvPr id="3" name="Text Placeholder 1">
            <a:extLst>
              <a:ext uri="{FF2B5EF4-FFF2-40B4-BE49-F238E27FC236}">
                <a16:creationId xmlns:a16="http://schemas.microsoft.com/office/drawing/2014/main" id="{06634C71-482F-E4E8-A90D-F01E34B0AF94}"/>
              </a:ext>
            </a:extLst>
          </p:cNvPr>
          <p:cNvSpPr txBox="1">
            <a:spLocks/>
          </p:cNvSpPr>
          <p:nvPr/>
        </p:nvSpPr>
        <p:spPr>
          <a:xfrm>
            <a:off x="480878" y="193027"/>
            <a:ext cx="5644308"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Executive Summary</a:t>
            </a:r>
          </a:p>
        </p:txBody>
      </p:sp>
      <p:sp>
        <p:nvSpPr>
          <p:cNvPr id="4" name="Rectangle 3">
            <a:extLst>
              <a:ext uri="{FF2B5EF4-FFF2-40B4-BE49-F238E27FC236}">
                <a16:creationId xmlns:a16="http://schemas.microsoft.com/office/drawing/2014/main" id="{4A4A2A84-490D-5498-E255-64D3B7AB4C56}"/>
              </a:ext>
            </a:extLst>
          </p:cNvPr>
          <p:cNvSpPr/>
          <p:nvPr/>
        </p:nvSpPr>
        <p:spPr>
          <a:xfrm>
            <a:off x="417661" y="1860700"/>
            <a:ext cx="5228227" cy="268660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ct val="0"/>
              </a:spcBef>
            </a:pPr>
            <a:r>
              <a:rPr lang="en-US" sz="1400" b="1" noProof="0">
                <a:solidFill>
                  <a:schemeClr val="accent1"/>
                </a:solidFill>
                <a:latin typeface="Arial"/>
                <a:cs typeface="Arial"/>
              </a:rPr>
              <a:t>Approach</a:t>
            </a:r>
            <a:endParaRPr lang="en-US">
              <a:ea typeface="Calibri" panose="020F0502020204030204"/>
              <a:cs typeface="Calibri" panose="020F0502020204030204"/>
            </a:endParaRPr>
          </a:p>
          <a:p>
            <a:r>
              <a:rPr lang="en-US" sz="1200" noProof="0">
                <a:solidFill>
                  <a:schemeClr val="accent1"/>
                </a:solidFill>
                <a:latin typeface="Arial"/>
                <a:cs typeface="Arial"/>
              </a:rPr>
              <a:t>Conducted through the CSB Fellowship, Phase 1 focused on technical feasibility, regulatory benchmarking, and community integration:</a:t>
            </a:r>
          </a:p>
          <a:p>
            <a:pPr marL="171450" indent="-171450">
              <a:buFont typeface="Arial" panose="020B0604020202020204" pitchFamily="34" charset="0"/>
              <a:buChar char="•"/>
            </a:pPr>
            <a:r>
              <a:rPr lang="en-US" sz="1200" b="1" noProof="0">
                <a:solidFill>
                  <a:schemeClr val="accent1"/>
                </a:solidFill>
                <a:latin typeface="Arial"/>
                <a:cs typeface="Arial"/>
              </a:rPr>
              <a:t>Evaluated </a:t>
            </a:r>
            <a:r>
              <a:rPr lang="en-US" sz="1200" noProof="0">
                <a:solidFill>
                  <a:schemeClr val="accent1"/>
                </a:solidFill>
                <a:latin typeface="Arial"/>
                <a:cs typeface="Arial"/>
              </a:rPr>
              <a:t>H Quest's turquoise hydrogen (via microwave plasma pyrolysis) for cost, energy efficiency, and carbon co-product value</a:t>
            </a:r>
            <a:r>
              <a:rPr lang="en-US" sz="1200">
                <a:solidFill>
                  <a:schemeClr val="accent1"/>
                </a:solidFill>
                <a:latin typeface="Arial"/>
                <a:cs typeface="Arial"/>
              </a:rPr>
              <a:t>. (a)</a:t>
            </a:r>
            <a:endParaRPr lang="en-US" sz="1200" noProof="0">
              <a:solidFill>
                <a:schemeClr val="accent1"/>
              </a:solidFill>
              <a:latin typeface="Arial"/>
              <a:cs typeface="Arial"/>
            </a:endParaRPr>
          </a:p>
          <a:p>
            <a:pPr marL="171450" indent="-171450">
              <a:buFont typeface="Arial" panose="020B0604020202020204" pitchFamily="34" charset="0"/>
              <a:buChar char="•"/>
            </a:pPr>
            <a:r>
              <a:rPr lang="en-US" sz="1200" b="1" noProof="0">
                <a:solidFill>
                  <a:schemeClr val="accent1"/>
                </a:solidFill>
                <a:latin typeface="Arial"/>
                <a:cs typeface="Arial"/>
              </a:rPr>
              <a:t>Assessed</a:t>
            </a:r>
            <a:r>
              <a:rPr lang="en-US" sz="1200" noProof="0">
                <a:solidFill>
                  <a:schemeClr val="accent1"/>
                </a:solidFill>
                <a:latin typeface="Arial"/>
                <a:cs typeface="Arial"/>
              </a:rPr>
              <a:t> pipeline material compatibility (steel, PE100-RC, FRP) for low-level blending</a:t>
            </a:r>
          </a:p>
          <a:p>
            <a:pPr marL="171450" indent="-171450">
              <a:buFont typeface="Arial" panose="020B0604020202020204" pitchFamily="34" charset="0"/>
              <a:buChar char="•"/>
            </a:pPr>
            <a:r>
              <a:rPr lang="en-US" sz="1200" b="1" noProof="0">
                <a:solidFill>
                  <a:schemeClr val="accent1"/>
                </a:solidFill>
                <a:latin typeface="Arial"/>
                <a:cs typeface="Arial"/>
              </a:rPr>
              <a:t>Compared</a:t>
            </a:r>
            <a:r>
              <a:rPr lang="en-US" sz="1200" noProof="0">
                <a:solidFill>
                  <a:schemeClr val="accent1"/>
                </a:solidFill>
                <a:latin typeface="Arial"/>
                <a:cs typeface="Arial"/>
              </a:rPr>
              <a:t> Peoples’ ESG strategy and hydrogen activity with SoCalGas, UGI, Columbia, Dominion</a:t>
            </a:r>
          </a:p>
          <a:p>
            <a:pPr marL="171450" indent="-171450">
              <a:buFont typeface="Arial" panose="020B0604020202020204" pitchFamily="34" charset="0"/>
              <a:buChar char="•"/>
            </a:pPr>
            <a:r>
              <a:rPr lang="en-US" sz="1200" b="1" noProof="0">
                <a:solidFill>
                  <a:schemeClr val="accent1"/>
                </a:solidFill>
                <a:latin typeface="Arial"/>
                <a:cs typeface="Arial"/>
              </a:rPr>
              <a:t>Analyzed </a:t>
            </a:r>
            <a:r>
              <a:rPr lang="en-US" sz="1200" noProof="0">
                <a:solidFill>
                  <a:schemeClr val="accent1"/>
                </a:solidFill>
                <a:latin typeface="Arial"/>
                <a:cs typeface="Arial"/>
              </a:rPr>
              <a:t>best practices for pilot design, public engagement, and leak detection technologies</a:t>
            </a:r>
          </a:p>
        </p:txBody>
      </p:sp>
      <p:sp>
        <p:nvSpPr>
          <p:cNvPr id="5" name="Rectangle 4">
            <a:extLst>
              <a:ext uri="{FF2B5EF4-FFF2-40B4-BE49-F238E27FC236}">
                <a16:creationId xmlns:a16="http://schemas.microsoft.com/office/drawing/2014/main" id="{A39C5115-470F-265F-68A5-2CA0FE9340E5}"/>
              </a:ext>
            </a:extLst>
          </p:cNvPr>
          <p:cNvSpPr/>
          <p:nvPr/>
        </p:nvSpPr>
        <p:spPr>
          <a:xfrm>
            <a:off x="6546114" y="1860697"/>
            <a:ext cx="5437531" cy="268660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noProof="0">
                <a:solidFill>
                  <a:schemeClr val="accent1"/>
                </a:solidFill>
                <a:latin typeface="Arial"/>
                <a:cs typeface="Arial"/>
              </a:rPr>
              <a:t>Key Findings</a:t>
            </a:r>
          </a:p>
          <a:p>
            <a:pPr marL="171450" indent="-171450">
              <a:buFont typeface="Arial" panose="020B0604020202020204" pitchFamily="34" charset="0"/>
              <a:buChar char="•"/>
            </a:pPr>
            <a:r>
              <a:rPr lang="en-US" sz="1200" b="1">
                <a:solidFill>
                  <a:schemeClr val="accent1"/>
                </a:solidFill>
                <a:latin typeface="Arial"/>
                <a:cs typeface="Arial"/>
              </a:rPr>
              <a:t>H Quest’s </a:t>
            </a:r>
            <a:r>
              <a:rPr lang="en-US" sz="1200">
                <a:solidFill>
                  <a:schemeClr val="accent1"/>
                </a:solidFill>
                <a:latin typeface="Arial"/>
                <a:cs typeface="Arial"/>
              </a:rPr>
              <a:t>hydrogen is energy-efficient and offers potential for cost-effectiveness (projected &lt;$2/kg), especially when factoring in the value of graphene and carbon co-products used in clean-tech applications. (a)</a:t>
            </a:r>
          </a:p>
          <a:p>
            <a:pPr marL="171450" indent="-171450">
              <a:buFont typeface="Arial" panose="020B0604020202020204" pitchFamily="34" charset="0"/>
              <a:buChar char="•"/>
            </a:pPr>
            <a:r>
              <a:rPr lang="en-US" sz="1200" b="1">
                <a:solidFill>
                  <a:schemeClr val="accent1"/>
                </a:solidFill>
                <a:latin typeface="Arial"/>
                <a:cs typeface="Arial"/>
              </a:rPr>
              <a:t>Infrastructure-ready:</a:t>
            </a:r>
            <a:r>
              <a:rPr lang="en-US" sz="1200" noProof="0">
                <a:solidFill>
                  <a:schemeClr val="accent1"/>
                </a:solidFill>
                <a:latin typeface="Arial"/>
                <a:cs typeface="Arial"/>
              </a:rPr>
              <a:t> Up to 20% hydrogen blends are compatible with Peoples’ pipeline materials</a:t>
            </a:r>
          </a:p>
          <a:p>
            <a:pPr marL="171450" indent="-171450">
              <a:buFont typeface="Arial" panose="020B0604020202020204" pitchFamily="34" charset="0"/>
              <a:buChar char="•"/>
            </a:pPr>
            <a:r>
              <a:rPr lang="en-US" sz="1200" b="1">
                <a:solidFill>
                  <a:schemeClr val="accent1"/>
                </a:solidFill>
                <a:latin typeface="Arial"/>
                <a:ea typeface="+mn-lt"/>
                <a:cs typeface="+mn-lt"/>
              </a:rPr>
              <a:t>Visibility Opportunity</a:t>
            </a:r>
            <a:r>
              <a:rPr lang="en-US" sz="1200" b="1" noProof="0">
                <a:solidFill>
                  <a:schemeClr val="accent1"/>
                </a:solidFill>
                <a:latin typeface="Arial"/>
                <a:ea typeface="+mn-lt"/>
                <a:cs typeface="+mn-lt"/>
              </a:rPr>
              <a:t>:</a:t>
            </a:r>
            <a:r>
              <a:rPr lang="en-US" sz="1200" noProof="0">
                <a:solidFill>
                  <a:schemeClr val="accent1"/>
                </a:solidFill>
                <a:latin typeface="Arial"/>
                <a:ea typeface="+mn-lt"/>
                <a:cs typeface="+mn-lt"/>
              </a:rPr>
              <a:t> </a:t>
            </a:r>
            <a:r>
              <a:rPr lang="en-US" sz="1200">
                <a:solidFill>
                  <a:schemeClr val="accent1"/>
                </a:solidFill>
                <a:latin typeface="Arial"/>
                <a:ea typeface="+mn-lt"/>
                <a:cs typeface="+mn-lt"/>
              </a:rPr>
              <a:t>Peoples can boost its leadership by launching public-facing </a:t>
            </a:r>
            <a:r>
              <a:rPr lang="en-US" sz="1200" noProof="0">
                <a:solidFill>
                  <a:schemeClr val="accent1"/>
                </a:solidFill>
                <a:latin typeface="Arial"/>
                <a:ea typeface="+mn-lt"/>
                <a:cs typeface="+mn-lt"/>
              </a:rPr>
              <a:t>hydrogen pilots </a:t>
            </a:r>
            <a:r>
              <a:rPr lang="en-US" sz="1200">
                <a:solidFill>
                  <a:schemeClr val="accent1"/>
                </a:solidFill>
                <a:latin typeface="Arial"/>
                <a:ea typeface="+mn-lt"/>
                <a:cs typeface="+mn-lt"/>
              </a:rPr>
              <a:t>and </a:t>
            </a:r>
            <a:r>
              <a:rPr lang="en-US" sz="1200" noProof="0">
                <a:solidFill>
                  <a:schemeClr val="accent1"/>
                </a:solidFill>
                <a:latin typeface="Arial"/>
                <a:ea typeface="+mn-lt"/>
                <a:cs typeface="+mn-lt"/>
              </a:rPr>
              <a:t>outreach </a:t>
            </a:r>
            <a:r>
              <a:rPr lang="en-US" sz="1200">
                <a:solidFill>
                  <a:schemeClr val="accent1"/>
                </a:solidFill>
                <a:latin typeface="Arial"/>
                <a:ea typeface="+mn-lt"/>
                <a:cs typeface="+mn-lt"/>
              </a:rPr>
              <a:t>efforts</a:t>
            </a:r>
            <a:endParaRPr lang="en-US" sz="1200" noProof="0">
              <a:solidFill>
                <a:schemeClr val="accent1"/>
              </a:solidFill>
              <a:latin typeface="Arial"/>
              <a:ea typeface="+mn-lt"/>
              <a:cs typeface="+mn-lt"/>
            </a:endParaRPr>
          </a:p>
          <a:p>
            <a:pPr marL="171450" indent="-171450">
              <a:buFont typeface="Arial" panose="020B0604020202020204" pitchFamily="34" charset="0"/>
              <a:buChar char="•"/>
            </a:pPr>
            <a:r>
              <a:rPr lang="en-US" sz="1200" b="1" noProof="0">
                <a:solidFill>
                  <a:schemeClr val="accent1"/>
                </a:solidFill>
                <a:latin typeface="Arial"/>
                <a:cs typeface="Arial"/>
              </a:rPr>
              <a:t>ESG opportunity:</a:t>
            </a:r>
            <a:r>
              <a:rPr lang="en-US" sz="1200" noProof="0">
                <a:solidFill>
                  <a:schemeClr val="accent1"/>
                </a:solidFill>
                <a:latin typeface="Arial"/>
                <a:cs typeface="Arial"/>
              </a:rPr>
              <a:t> Hydrogen blending supports emissions reduction, improves ESG ratings, and aligns with stakeholder expectations</a:t>
            </a:r>
          </a:p>
        </p:txBody>
      </p:sp>
      <p:sp>
        <p:nvSpPr>
          <p:cNvPr id="6" name="Isosceles Triangle 5">
            <a:extLst>
              <a:ext uri="{FF2B5EF4-FFF2-40B4-BE49-F238E27FC236}">
                <a16:creationId xmlns:a16="http://schemas.microsoft.com/office/drawing/2014/main" id="{111D2E18-50BC-E88D-83F7-BE21EF2B037E}"/>
              </a:ext>
            </a:extLst>
          </p:cNvPr>
          <p:cNvSpPr/>
          <p:nvPr/>
        </p:nvSpPr>
        <p:spPr>
          <a:xfrm rot="5400000">
            <a:off x="4709420" y="2919282"/>
            <a:ext cx="2686606" cy="533974"/>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Isosceles Triangle 11">
            <a:extLst>
              <a:ext uri="{FF2B5EF4-FFF2-40B4-BE49-F238E27FC236}">
                <a16:creationId xmlns:a16="http://schemas.microsoft.com/office/drawing/2014/main" id="{8E889EDF-93D9-79C5-CF9D-B7DA2CE04C29}"/>
              </a:ext>
            </a:extLst>
          </p:cNvPr>
          <p:cNvSpPr/>
          <p:nvPr/>
        </p:nvSpPr>
        <p:spPr>
          <a:xfrm rot="10800000">
            <a:off x="415352" y="4665852"/>
            <a:ext cx="11566958" cy="369422"/>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tangle 12">
            <a:extLst>
              <a:ext uri="{FF2B5EF4-FFF2-40B4-BE49-F238E27FC236}">
                <a16:creationId xmlns:a16="http://schemas.microsoft.com/office/drawing/2014/main" id="{A1B5BC71-F44F-27E4-0D40-9A86B96CCA0B}"/>
              </a:ext>
            </a:extLst>
          </p:cNvPr>
          <p:cNvSpPr/>
          <p:nvPr/>
        </p:nvSpPr>
        <p:spPr>
          <a:xfrm>
            <a:off x="416688" y="825137"/>
            <a:ext cx="11565622" cy="915961"/>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Problem Statement</a:t>
            </a:r>
          </a:p>
          <a:p>
            <a:pPr algn="ctr"/>
            <a:r>
              <a:rPr lang="en-US" sz="1200" noProof="0">
                <a:solidFill>
                  <a:schemeClr val="accent1"/>
                </a:solidFill>
                <a:latin typeface="Arial" panose="020B0604020202020204" pitchFamily="34" charset="0"/>
                <a:cs typeface="Arial" panose="020B0604020202020204" pitchFamily="34" charset="0"/>
              </a:rPr>
              <a:t>Peoples Gas is under growing pressure to decarbonize its natural gas distribution system to meet ESG goals and comply with Pennsylvania’s evolving emissions regulations. Hydrogen blending—injecting low-carbon hydrogen into natural gas pipelines—presents a near-term, infrastructure-compatible strategy to reduce GHG emissions. However, key questions remain around safety, material compatibility, regulatory readiness, and public acceptance.</a:t>
            </a:r>
          </a:p>
        </p:txBody>
      </p:sp>
      <p:sp>
        <p:nvSpPr>
          <p:cNvPr id="14" name="Rectangle 13">
            <a:extLst>
              <a:ext uri="{FF2B5EF4-FFF2-40B4-BE49-F238E27FC236}">
                <a16:creationId xmlns:a16="http://schemas.microsoft.com/office/drawing/2014/main" id="{55AB91F0-FB62-F45D-1FA7-DB9F4D5644B4}"/>
              </a:ext>
            </a:extLst>
          </p:cNvPr>
          <p:cNvSpPr/>
          <p:nvPr/>
        </p:nvSpPr>
        <p:spPr>
          <a:xfrm>
            <a:off x="557410" y="5171555"/>
            <a:ext cx="11426725" cy="1321321"/>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b="1" noProof="0">
                <a:solidFill>
                  <a:schemeClr val="accent1"/>
                </a:solidFill>
                <a:latin typeface="Arial" panose="020B0604020202020204" pitchFamily="34" charset="0"/>
                <a:cs typeface="Arial" panose="020B0604020202020204" pitchFamily="34" charset="0"/>
              </a:rPr>
              <a:t>Strategic Recommendations</a:t>
            </a:r>
          </a:p>
        </p:txBody>
      </p:sp>
      <p:sp>
        <p:nvSpPr>
          <p:cNvPr id="15" name="Rectangle 14">
            <a:extLst>
              <a:ext uri="{FF2B5EF4-FFF2-40B4-BE49-F238E27FC236}">
                <a16:creationId xmlns:a16="http://schemas.microsoft.com/office/drawing/2014/main" id="{8D5D3466-2F38-B013-D9A6-442FEBEE364E}"/>
              </a:ext>
            </a:extLst>
          </p:cNvPr>
          <p:cNvSpPr/>
          <p:nvPr/>
        </p:nvSpPr>
        <p:spPr>
          <a:xfrm>
            <a:off x="645409" y="5433238"/>
            <a:ext cx="2600090" cy="9841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noProof="0">
                <a:solidFill>
                  <a:schemeClr val="accent1"/>
                </a:solidFill>
                <a:latin typeface="Arial" panose="020B0604020202020204" pitchFamily="34" charset="0"/>
                <a:cs typeface="Arial" panose="020B0604020202020204" pitchFamily="34" charset="0"/>
              </a:rPr>
              <a:t>Launch a second pilot modeled after SoCalGas → </a:t>
            </a:r>
            <a:r>
              <a:rPr lang="en-US" sz="1000" noProof="0">
                <a:solidFill>
                  <a:schemeClr val="accent1"/>
                </a:solidFill>
                <a:latin typeface="Arial" panose="020B0604020202020204" pitchFamily="34" charset="0"/>
                <a:cs typeface="Arial" panose="020B0604020202020204" pitchFamily="34" charset="0"/>
              </a:rPr>
              <a:t>Complements the H Quest project, builds public trust, and strengthens regulatory and funding credibility</a:t>
            </a:r>
            <a:endParaRPr lang="en-US" sz="1000" b="1" noProof="0">
              <a:solidFill>
                <a:schemeClr val="accent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2203C8DF-8218-5B43-299B-2CD134638B79}"/>
              </a:ext>
            </a:extLst>
          </p:cNvPr>
          <p:cNvSpPr/>
          <p:nvPr/>
        </p:nvSpPr>
        <p:spPr>
          <a:xfrm>
            <a:off x="6404783" y="5433238"/>
            <a:ext cx="2600089" cy="9841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noProof="0">
                <a:solidFill>
                  <a:schemeClr val="accent1"/>
                </a:solidFill>
                <a:latin typeface="Arial" panose="020B0604020202020204" pitchFamily="34" charset="0"/>
                <a:cs typeface="Arial" panose="020B0604020202020204" pitchFamily="34" charset="0"/>
              </a:rPr>
              <a:t>Launch a comprehensive public education campaign → </a:t>
            </a:r>
            <a:r>
              <a:rPr lang="en-US" sz="1000" noProof="0">
                <a:solidFill>
                  <a:schemeClr val="accent1"/>
                </a:solidFill>
                <a:latin typeface="Arial" panose="020B0604020202020204" pitchFamily="34" charset="0"/>
                <a:cs typeface="Arial" panose="020B0604020202020204" pitchFamily="34" charset="0"/>
              </a:rPr>
              <a:t>Builds on existing outreach to deepen community trust, reduce opposition, and improve long-term project viability</a:t>
            </a:r>
          </a:p>
        </p:txBody>
      </p:sp>
      <p:sp>
        <p:nvSpPr>
          <p:cNvPr id="18" name="Rectangle 17">
            <a:extLst>
              <a:ext uri="{FF2B5EF4-FFF2-40B4-BE49-F238E27FC236}">
                <a16:creationId xmlns:a16="http://schemas.microsoft.com/office/drawing/2014/main" id="{8A2B48B7-C75B-5BC2-9864-D6F7BA1C4F83}"/>
              </a:ext>
            </a:extLst>
          </p:cNvPr>
          <p:cNvSpPr/>
          <p:nvPr/>
        </p:nvSpPr>
        <p:spPr>
          <a:xfrm>
            <a:off x="3525096" y="5433239"/>
            <a:ext cx="2600090" cy="9841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noProof="0">
                <a:solidFill>
                  <a:schemeClr val="accent1"/>
                </a:solidFill>
                <a:latin typeface="Arial" panose="020B0604020202020204" pitchFamily="34" charset="0"/>
                <a:cs typeface="Arial" panose="020B0604020202020204" pitchFamily="34" charset="0"/>
              </a:rPr>
              <a:t>Scale Hydrogen + RNG supply with H Quest →  </a:t>
            </a:r>
            <a:r>
              <a:rPr lang="en-US" sz="1000" noProof="0">
                <a:solidFill>
                  <a:schemeClr val="accent1"/>
                </a:solidFill>
                <a:latin typeface="Arial" panose="020B0604020202020204" pitchFamily="34" charset="0"/>
                <a:cs typeface="Arial" panose="020B0604020202020204" pitchFamily="34" charset="0"/>
              </a:rPr>
              <a:t>10-20% GHG reduction potential in targeted areas</a:t>
            </a:r>
          </a:p>
        </p:txBody>
      </p:sp>
      <p:sp>
        <p:nvSpPr>
          <p:cNvPr id="22" name="Rectangle 21">
            <a:extLst>
              <a:ext uri="{FF2B5EF4-FFF2-40B4-BE49-F238E27FC236}">
                <a16:creationId xmlns:a16="http://schemas.microsoft.com/office/drawing/2014/main" id="{2E6744AA-77B1-6EFE-328B-C396DA44C7D5}"/>
              </a:ext>
            </a:extLst>
          </p:cNvPr>
          <p:cNvSpPr/>
          <p:nvPr/>
        </p:nvSpPr>
        <p:spPr>
          <a:xfrm>
            <a:off x="9292281" y="5433240"/>
            <a:ext cx="2600089" cy="9841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noProof="0">
                <a:solidFill>
                  <a:schemeClr val="accent1"/>
                </a:solidFill>
                <a:latin typeface="Arial" panose="020B0604020202020204" pitchFamily="34" charset="0"/>
                <a:cs typeface="Arial" panose="020B0604020202020204" pitchFamily="34" charset="0"/>
              </a:rPr>
              <a:t>Engage PUC on green gas pricing → </a:t>
            </a:r>
            <a:r>
              <a:rPr lang="en-US" sz="1000" noProof="0">
                <a:solidFill>
                  <a:schemeClr val="accent1"/>
                </a:solidFill>
                <a:latin typeface="Arial" panose="020B0604020202020204" pitchFamily="34" charset="0"/>
                <a:cs typeface="Arial" panose="020B0604020202020204" pitchFamily="34" charset="0"/>
              </a:rPr>
              <a:t>Unlocks opt-in revenues and supports long-term ratepayer value</a:t>
            </a:r>
          </a:p>
        </p:txBody>
      </p:sp>
      <p:sp>
        <p:nvSpPr>
          <p:cNvPr id="2" name="Slide Number Placeholder 23">
            <a:extLst>
              <a:ext uri="{FF2B5EF4-FFF2-40B4-BE49-F238E27FC236}">
                <a16:creationId xmlns:a16="http://schemas.microsoft.com/office/drawing/2014/main" id="{F13CCFB8-D300-7EE4-D565-5BF0A6C0F8F7}"/>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1946CD3C-4EE8-0B9F-5A22-E698A21696C3}"/>
              </a:ext>
            </a:extLst>
          </p:cNvPr>
          <p:cNvGraphicFramePr/>
          <p:nvPr>
            <p:extLst>
              <p:ext uri="{D42A27DB-BD31-4B8C-83A1-F6EECF244321}">
                <p14:modId xmlns:p14="http://schemas.microsoft.com/office/powerpoint/2010/main" val="747203076"/>
              </p:ext>
            </p:extLst>
          </p:nvPr>
        </p:nvGraphicFramePr>
        <p:xfrm>
          <a:off x="670849" y="6503713"/>
          <a:ext cx="6414005" cy="3468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880380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2" grpId="0" animBg="1"/>
      <p:bldP spid="14" grpId="0" animBg="1"/>
      <p:bldP spid="15" grpId="0" animBg="1"/>
      <p:bldP spid="17" grpId="0" animBg="1"/>
      <p:bldP spid="18" grpId="0" animBg="1"/>
      <p:bldP spid="2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922EA65-633A-9D47-0B09-12E3E62A5B0E}"/>
              </a:ext>
            </a:extLst>
          </p:cNvPr>
          <p:cNvSpPr>
            <a:spLocks noGrp="1"/>
          </p:cNvSpPr>
          <p:nvPr>
            <p:ph type="body" sz="quarter" idx="10"/>
          </p:nvPr>
        </p:nvSpPr>
        <p:spPr>
          <a:xfrm>
            <a:off x="360218" y="1668249"/>
            <a:ext cx="5735781" cy="4524733"/>
          </a:xfrm>
        </p:spPr>
        <p:txBody>
          <a:bodyPr vert="horz" lIns="0" tIns="45720" rIns="0" bIns="45720" rtlCol="0" anchor="t">
            <a:normAutofit/>
          </a:bodyPr>
          <a:lstStyle/>
          <a:p>
            <a:pPr algn="just">
              <a:lnSpc>
                <a:spcPct val="150000"/>
              </a:lnSpc>
            </a:pPr>
            <a:r>
              <a:rPr lang="en-US" sz="1400" noProof="0">
                <a:ea typeface="Calibri" panose="020F0502020204030204" pitchFamily="34" charset="0"/>
              </a:rPr>
              <a:t>Used as a reference model for infrastructure standards, fiber density, and energy readiness when evaluating Pittsburgh’s potential to attract hyperscale development.</a:t>
            </a:r>
          </a:p>
          <a:p>
            <a:pPr algn="just">
              <a:lnSpc>
                <a:spcPct val="150000"/>
              </a:lnSpc>
            </a:pPr>
            <a:r>
              <a:rPr lang="en-US" sz="1400" noProof="0">
                <a:ea typeface="Calibri" panose="020F0502020204030204" pitchFamily="34" charset="0"/>
              </a:rPr>
              <a:t>"</a:t>
            </a:r>
            <a:r>
              <a:rPr lang="en-US" sz="1400" b="0" i="0" noProof="0">
                <a:effectLst/>
                <a:ea typeface="Calibri" panose="020F0502020204030204" pitchFamily="34" charset="0"/>
              </a:rPr>
              <a:t>White Oak Technology Park is a master-planned, publicly owned industrial park located at the intersection of I-64 and I-295 in tax-friendly Henrico, Virginia. The 2,278-acre park boasts the extensive and reliable power, utility, and transportation infrastructure demanded by today's most advanced manufacturing facilities and data centers. With +/- 470 acres of build-ready industrial land remaining, White Oak Technology Park is one of the premier development opportunities on the East Coast of the U.S</a:t>
            </a:r>
            <a:r>
              <a:rPr lang="en-US" sz="1400" noProof="0">
                <a:ea typeface="Calibri" panose="020F0502020204030204" pitchFamily="34" charset="0"/>
              </a:rPr>
              <a:t>." </a:t>
            </a:r>
          </a:p>
          <a:p>
            <a:pPr>
              <a:lnSpc>
                <a:spcPct val="150000"/>
              </a:lnSpc>
            </a:pPr>
            <a:endParaRPr lang="en-US" sz="1200" noProof="0">
              <a:ea typeface="Calibri" panose="020F0502020204030204" pitchFamily="34" charset="0"/>
            </a:endParaRPr>
          </a:p>
        </p:txBody>
      </p:sp>
      <p:sp>
        <p:nvSpPr>
          <p:cNvPr id="5" name="Text Placeholder 4">
            <a:extLst>
              <a:ext uri="{FF2B5EF4-FFF2-40B4-BE49-F238E27FC236}">
                <a16:creationId xmlns:a16="http://schemas.microsoft.com/office/drawing/2014/main" id="{3FD56D6D-DE0E-607F-655C-51410EBDD351}"/>
              </a:ext>
            </a:extLst>
          </p:cNvPr>
          <p:cNvSpPr>
            <a:spLocks noGrp="1"/>
          </p:cNvSpPr>
          <p:nvPr>
            <p:ph type="body" sz="quarter" idx="17"/>
          </p:nvPr>
        </p:nvSpPr>
        <p:spPr>
          <a:xfrm>
            <a:off x="6456218" y="1668249"/>
            <a:ext cx="5604164" cy="4289206"/>
          </a:xfrm>
        </p:spPr>
        <p:txBody>
          <a:bodyPr>
            <a:noAutofit/>
          </a:bodyPr>
          <a:lstStyle/>
          <a:p>
            <a:pPr algn="just">
              <a:lnSpc>
                <a:spcPct val="100000"/>
              </a:lnSpc>
              <a:spcBef>
                <a:spcPts val="1500"/>
              </a:spcBef>
            </a:pPr>
            <a:r>
              <a:rPr lang="en-US" sz="1400" b="0" i="0" noProof="0">
                <a:effectLst/>
                <a:ea typeface="Calibri" panose="020F0502020204030204" pitchFamily="34" charset="0"/>
              </a:rPr>
              <a:t>Electric, fiber, water, sewer, gas, and transportation networks will meet almost any need.</a:t>
            </a:r>
          </a:p>
          <a:p>
            <a:pPr algn="just">
              <a:lnSpc>
                <a:spcPct val="100000"/>
              </a:lnSpc>
              <a:spcBef>
                <a:spcPts val="1500"/>
              </a:spcBef>
            </a:pPr>
            <a:r>
              <a:rPr lang="en-US" sz="1400" b="0" i="0" noProof="0">
                <a:effectLst/>
                <a:ea typeface="Calibri" panose="020F0502020204030204" pitchFamily="34" charset="0"/>
              </a:rPr>
              <a:t>Served by a networked (dual feed) </a:t>
            </a:r>
            <a:r>
              <a:rPr lang="en-US" sz="1400" b="1" i="0" noProof="0">
                <a:effectLst/>
                <a:ea typeface="Calibri" panose="020F0502020204030204" pitchFamily="34" charset="0"/>
              </a:rPr>
              <a:t>230kV transmission system</a:t>
            </a:r>
            <a:r>
              <a:rPr lang="en-US" sz="1400" b="0" i="0" noProof="0">
                <a:effectLst/>
                <a:ea typeface="Calibri" panose="020F0502020204030204" pitchFamily="34" charset="0"/>
              </a:rPr>
              <a:t> with multiple distribution substations and 34.5kV circuit</a:t>
            </a:r>
          </a:p>
          <a:p>
            <a:pPr algn="just">
              <a:lnSpc>
                <a:spcPct val="100000"/>
              </a:lnSpc>
              <a:spcBef>
                <a:spcPts val="1500"/>
              </a:spcBef>
            </a:pPr>
            <a:r>
              <a:rPr lang="en-US" sz="1400" b="1" i="0" noProof="0">
                <a:effectLst/>
                <a:ea typeface="Calibri" panose="020F0502020204030204" pitchFamily="34" charset="0"/>
              </a:rPr>
              <a:t>10 MGD</a:t>
            </a:r>
            <a:r>
              <a:rPr lang="en-US" sz="1400" b="0" i="0" noProof="0">
                <a:effectLst/>
                <a:ea typeface="Calibri" panose="020F0502020204030204" pitchFamily="34" charset="0"/>
              </a:rPr>
              <a:t> water and </a:t>
            </a:r>
            <a:r>
              <a:rPr lang="en-US" sz="1400" b="1" i="0" noProof="0">
                <a:effectLst/>
                <a:ea typeface="Calibri" panose="020F0502020204030204" pitchFamily="34" charset="0"/>
              </a:rPr>
              <a:t>13 MGD</a:t>
            </a:r>
            <a:r>
              <a:rPr lang="en-US" sz="1400" b="0" i="0" noProof="0">
                <a:effectLst/>
                <a:ea typeface="Calibri" panose="020F0502020204030204" pitchFamily="34" charset="0"/>
              </a:rPr>
              <a:t> sewer capacity throughout the park</a:t>
            </a:r>
          </a:p>
          <a:p>
            <a:pPr algn="just">
              <a:lnSpc>
                <a:spcPct val="100000"/>
              </a:lnSpc>
              <a:spcBef>
                <a:spcPts val="1500"/>
              </a:spcBef>
            </a:pPr>
            <a:r>
              <a:rPr lang="en-US" sz="1400" b="0" i="0" noProof="0">
                <a:effectLst/>
                <a:ea typeface="Calibri" panose="020F0502020204030204" pitchFamily="34" charset="0"/>
              </a:rPr>
              <a:t>Natural gas system with high and intermediate pressures with </a:t>
            </a:r>
            <a:r>
              <a:rPr lang="en-US" sz="1400" b="1" i="0" noProof="0">
                <a:effectLst/>
                <a:ea typeface="Calibri" panose="020F0502020204030204" pitchFamily="34" charset="0"/>
              </a:rPr>
              <a:t>24 to 150 PSI on site</a:t>
            </a:r>
            <a:endParaRPr lang="en-US" sz="1400" b="0" i="0" noProof="0">
              <a:effectLst/>
              <a:ea typeface="Calibri" panose="020F0502020204030204" pitchFamily="34" charset="0"/>
            </a:endParaRPr>
          </a:p>
          <a:p>
            <a:pPr algn="just">
              <a:lnSpc>
                <a:spcPct val="100000"/>
              </a:lnSpc>
              <a:spcBef>
                <a:spcPts val="1500"/>
              </a:spcBef>
            </a:pPr>
            <a:r>
              <a:rPr lang="en-US" sz="1400" b="1" i="0" noProof="0">
                <a:effectLst/>
                <a:ea typeface="Calibri" panose="020F0502020204030204" pitchFamily="34" charset="0"/>
              </a:rPr>
              <a:t>Extensive fiber network</a:t>
            </a:r>
            <a:r>
              <a:rPr lang="en-US" sz="1400" b="0" i="0" noProof="0">
                <a:effectLst/>
                <a:ea typeface="Calibri" panose="020F0502020204030204" pitchFamily="34" charset="0"/>
              </a:rPr>
              <a:t>, including Comcast, Level 3 Communications, Lumos Networks, </a:t>
            </a:r>
            <a:r>
              <a:rPr lang="en-US" sz="1400" b="0" i="0" noProof="0" err="1">
                <a:effectLst/>
                <a:ea typeface="Calibri" panose="020F0502020204030204" pitchFamily="34" charset="0"/>
              </a:rPr>
              <a:t>SummitIG</a:t>
            </a:r>
            <a:r>
              <a:rPr lang="en-US" sz="1400" b="0" i="0" noProof="0">
                <a:effectLst/>
                <a:ea typeface="Calibri" panose="020F0502020204030204" pitchFamily="34" charset="0"/>
              </a:rPr>
              <a:t>, Verizon, Windstream Corp., Zayo Group &amp; other providers</a:t>
            </a:r>
          </a:p>
          <a:p>
            <a:pPr>
              <a:lnSpc>
                <a:spcPct val="100000"/>
              </a:lnSpc>
            </a:pPr>
            <a:endParaRPr lang="en-US" sz="1600" noProof="0">
              <a:latin typeface="Calibri" panose="020F0502020204030204" pitchFamily="34" charset="0"/>
              <a:ea typeface="Calibri" panose="020F0502020204030204" pitchFamily="34" charset="0"/>
              <a:cs typeface="Calibri" panose="020F0502020204030204" pitchFamily="34" charset="0"/>
            </a:endParaRPr>
          </a:p>
          <a:p>
            <a:pPr>
              <a:lnSpc>
                <a:spcPct val="100000"/>
              </a:lnSpc>
            </a:pPr>
            <a:endParaRPr lang="en-US" sz="1600" noProof="0">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1">
            <a:extLst>
              <a:ext uri="{FF2B5EF4-FFF2-40B4-BE49-F238E27FC236}">
                <a16:creationId xmlns:a16="http://schemas.microsoft.com/office/drawing/2014/main" id="{92B777D1-D369-2FC3-85A4-C80BBDF9BF1C}"/>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Benchmarking Best-in-Class Data Center Infrastructure: Virginia</a:t>
            </a:r>
          </a:p>
        </p:txBody>
      </p:sp>
      <p:pic>
        <p:nvPicPr>
          <p:cNvPr id="10" name="Picture 9" descr="A close-up of blue text&#10;&#10;AI-generated content may be incorrect.">
            <a:extLst>
              <a:ext uri="{FF2B5EF4-FFF2-40B4-BE49-F238E27FC236}">
                <a16:creationId xmlns:a16="http://schemas.microsoft.com/office/drawing/2014/main" id="{0365705E-BD42-D00B-DFD4-781D8F7C2381}"/>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11" name="Slide Number Placeholder 23">
            <a:extLst>
              <a:ext uri="{FF2B5EF4-FFF2-40B4-BE49-F238E27FC236}">
                <a16:creationId xmlns:a16="http://schemas.microsoft.com/office/drawing/2014/main" id="{37B4DF2D-B83B-61AD-936D-E9FD5A4CB854}"/>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0</a:t>
            </a:fld>
            <a:endParaRPr lang="en-US" b="1" noProof="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87770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 screen&#10;&#10;Description automatically generated">
            <a:extLst>
              <a:ext uri="{FF2B5EF4-FFF2-40B4-BE49-F238E27FC236}">
                <a16:creationId xmlns:a16="http://schemas.microsoft.com/office/drawing/2014/main" id="{1E521D48-A3F8-C27F-C1C4-8B66F0DEF5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47409" y="1717016"/>
            <a:ext cx="4494179" cy="4123059"/>
          </a:xfrm>
          <a:prstGeom prst="rect">
            <a:avLst/>
          </a:prstGeom>
        </p:spPr>
      </p:pic>
      <p:sp>
        <p:nvSpPr>
          <p:cNvPr id="7" name="Rectangle 6">
            <a:extLst>
              <a:ext uri="{FF2B5EF4-FFF2-40B4-BE49-F238E27FC236}">
                <a16:creationId xmlns:a16="http://schemas.microsoft.com/office/drawing/2014/main" id="{F3806777-F69A-4FAE-ECE6-451C5C538D03}"/>
              </a:ext>
            </a:extLst>
          </p:cNvPr>
          <p:cNvSpPr/>
          <p:nvPr/>
        </p:nvSpPr>
        <p:spPr>
          <a:xfrm>
            <a:off x="676356" y="2256391"/>
            <a:ext cx="4792482" cy="3645056"/>
          </a:xfrm>
          <a:prstGeom prst="rect">
            <a:avLst/>
          </a:prstGeom>
          <a:solidFill>
            <a:schemeClr val="accent1">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t"/>
          <a:lstStyle/>
          <a:p>
            <a:pPr algn="ctr">
              <a:lnSpc>
                <a:spcPct val="150000"/>
              </a:lnSpc>
            </a:pPr>
            <a:r>
              <a:rPr lang="en-US" sz="1600" b="1"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Key Facts</a:t>
            </a:r>
          </a:p>
          <a:p>
            <a:pPr marL="171450" indent="-171450">
              <a:spcAft>
                <a:spcPts val="1200"/>
              </a:spcAft>
              <a:buFont typeface="Wingdings" panose="05000000000000000000" pitchFamily="2" charset="2"/>
              <a:buChar char="§"/>
            </a:pP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Lowered machinery and tools tax rate (M&amp;T) from $1.00/$100 to $0.30/$100 of assessed value, the lowest effective rate in Central Virginia (’15)</a:t>
            </a:r>
          </a:p>
          <a:p>
            <a:pPr marL="171450" indent="-171450">
              <a:spcAft>
                <a:spcPts val="1200"/>
              </a:spcAft>
              <a:buFont typeface="Wingdings" panose="05000000000000000000" pitchFamily="2" charset="2"/>
              <a:buChar char="§"/>
            </a:pP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Decreased aircraft tax rate to $0.50 per $100 of assessed value (’16)</a:t>
            </a:r>
          </a:p>
          <a:p>
            <a:pPr marL="171450" indent="-171450">
              <a:spcAft>
                <a:spcPts val="1200"/>
              </a:spcAft>
              <a:buFont typeface="Wingdings" panose="05000000000000000000" pitchFamily="2" charset="2"/>
              <a:buChar char="§"/>
            </a:pP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Reduced business license tax rate (BPOL), increasing non-taxable revenue threshold from $500,000 to $1,000,000 (’24)</a:t>
            </a:r>
          </a:p>
          <a:p>
            <a:pPr marL="171450" indent="-171450">
              <a:spcAft>
                <a:spcPts val="1200"/>
              </a:spcAft>
              <a:buFont typeface="Wingdings" panose="05000000000000000000" pitchFamily="2" charset="2"/>
              <a:buChar char="§"/>
            </a:pP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Cut data center tax rate by 88.6% to $0.40/$100 on computer and related equipment for data centers (’17)</a:t>
            </a:r>
          </a:p>
          <a:p>
            <a:pPr marL="171450" indent="-171450">
              <a:spcAft>
                <a:spcPts val="1200"/>
              </a:spcAft>
              <a:buFont typeface="Wingdings" panose="05000000000000000000" pitchFamily="2" charset="2"/>
              <a:buChar char="§"/>
            </a:pP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Reduced R&amp;D tax rate by 74% to $0.90/$100 ('22)</a:t>
            </a:r>
          </a:p>
          <a:p>
            <a:pPr marL="171450" indent="-171450">
              <a:spcAft>
                <a:spcPts val="1200"/>
              </a:spcAft>
              <a:buFont typeface="Wingdings" panose="05000000000000000000" pitchFamily="2" charset="2"/>
              <a:buChar char="§"/>
            </a:pPr>
            <a:r>
              <a:rPr lang="en-US" sz="1200" noProof="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Their</a:t>
            </a:r>
            <a:r>
              <a:rPr lang="en-US" sz="1200" b="0" i="0" noProof="0">
                <a:solidFill>
                  <a:schemeClr val="accent1">
                    <a:lumMod val="75000"/>
                  </a:schemeClr>
                </a:solidFill>
                <a:effectLst/>
                <a:latin typeface="Arial" panose="020B0604020202020204" pitchFamily="34" charset="0"/>
                <a:ea typeface="Calibri" panose="020F0502020204030204" pitchFamily="34" charset="0"/>
                <a:cs typeface="Arial" panose="020B0604020202020204" pitchFamily="34" charset="0"/>
              </a:rPr>
              <a:t> real estate tax rate has not increased since 1978</a:t>
            </a:r>
          </a:p>
        </p:txBody>
      </p:sp>
      <p:sp>
        <p:nvSpPr>
          <p:cNvPr id="4" name="Text Placeholder 1">
            <a:extLst>
              <a:ext uri="{FF2B5EF4-FFF2-40B4-BE49-F238E27FC236}">
                <a16:creationId xmlns:a16="http://schemas.microsoft.com/office/drawing/2014/main" id="{68D7BBE7-20E1-F31B-EF88-410C4212240F}"/>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Policy Benchmark: Competitive Tax Environment in Henrico County, VA</a:t>
            </a:r>
          </a:p>
        </p:txBody>
      </p:sp>
      <p:pic>
        <p:nvPicPr>
          <p:cNvPr id="10" name="Picture 9" descr="A close-up of blue text&#10;&#10;AI-generated content may be incorrect.">
            <a:extLst>
              <a:ext uri="{FF2B5EF4-FFF2-40B4-BE49-F238E27FC236}">
                <a16:creationId xmlns:a16="http://schemas.microsoft.com/office/drawing/2014/main" id="{0D6F42CB-3363-B68A-96FB-A3ACE8C524BC}"/>
              </a:ext>
            </a:extLst>
          </p:cNvPr>
          <p:cNvPicPr>
            <a:picLocks noChangeAspect="1"/>
          </p:cNvPicPr>
          <p:nvPr/>
        </p:nvPicPr>
        <p:blipFill>
          <a:blip r:embed="rId3"/>
          <a:stretch>
            <a:fillRect/>
          </a:stretch>
        </p:blipFill>
        <p:spPr>
          <a:xfrm>
            <a:off x="7801586" y="5979638"/>
            <a:ext cx="4666600" cy="1120163"/>
          </a:xfrm>
          <a:prstGeom prst="rect">
            <a:avLst/>
          </a:prstGeom>
        </p:spPr>
      </p:pic>
      <p:sp>
        <p:nvSpPr>
          <p:cNvPr id="2" name="TextBox 1">
            <a:extLst>
              <a:ext uri="{FF2B5EF4-FFF2-40B4-BE49-F238E27FC236}">
                <a16:creationId xmlns:a16="http://schemas.microsoft.com/office/drawing/2014/main" id="{99A51149-09CF-1846-3035-87D55AF7BB81}"/>
              </a:ext>
            </a:extLst>
          </p:cNvPr>
          <p:cNvSpPr txBox="1"/>
          <p:nvPr/>
        </p:nvSpPr>
        <p:spPr>
          <a:xfrm>
            <a:off x="676356" y="6179736"/>
            <a:ext cx="4792482" cy="461665"/>
          </a:xfrm>
          <a:prstGeom prst="rect">
            <a:avLst/>
          </a:prstGeom>
          <a:noFill/>
        </p:spPr>
        <p:txBody>
          <a:bodyPr wrap="square" rtlCol="0">
            <a:spAutoFit/>
          </a:bodyPr>
          <a:lstStyle/>
          <a:p>
            <a:r>
              <a:rPr lang="en-US" sz="1200"/>
              <a:t>Henrico County Economic Development Authority. (2019). </a:t>
            </a:r>
            <a:r>
              <a:rPr lang="en-US" sz="1200" i="1"/>
              <a:t>An introduction to Henrico County taxes</a:t>
            </a:r>
            <a:r>
              <a:rPr lang="en-US" sz="1200"/>
              <a:t>. Retrieved from </a:t>
            </a:r>
            <a:r>
              <a:rPr lang="en-US" sz="1200">
                <a:hlinkClick r:id="rId4"/>
              </a:rPr>
              <a:t>https://henrico.com</a:t>
            </a:r>
            <a:r>
              <a:rPr lang="en-US" sz="1200"/>
              <a:t> </a:t>
            </a:r>
            <a:endParaRPr lang="en-IN" sz="1200"/>
          </a:p>
        </p:txBody>
      </p:sp>
    </p:spTree>
    <p:extLst>
      <p:ext uri="{BB962C8B-B14F-4D97-AF65-F5344CB8AC3E}">
        <p14:creationId xmlns:p14="http://schemas.microsoft.com/office/powerpoint/2010/main" val="1381110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E397E96-55A3-DAC1-46B5-D2B555E474A4}"/>
              </a:ext>
            </a:extLst>
          </p:cNvPr>
          <p:cNvSpPr>
            <a:spLocks noGrp="1"/>
          </p:cNvSpPr>
          <p:nvPr>
            <p:ph type="body" sz="quarter" idx="10"/>
          </p:nvPr>
        </p:nvSpPr>
        <p:spPr>
          <a:xfrm>
            <a:off x="557195" y="2233392"/>
            <a:ext cx="10758375" cy="3823690"/>
          </a:xfrm>
        </p:spPr>
        <p:txBody>
          <a:bodyPr>
            <a:normAutofit/>
          </a:bodyPr>
          <a:lstStyle/>
          <a:p>
            <a:pPr marL="0" indent="0">
              <a:lnSpc>
                <a:spcPct val="100000"/>
              </a:lnSpc>
              <a:buNone/>
            </a:pPr>
            <a:r>
              <a:rPr lang="en-US" sz="1600" b="1" i="0" noProof="0">
                <a:effectLst/>
                <a:ea typeface="Calibri" panose="020F0502020204030204" pitchFamily="34" charset="0"/>
              </a:rPr>
              <a:t>Electricity </a:t>
            </a:r>
          </a:p>
          <a:p>
            <a:pPr lvl="1" defTabSz="639763">
              <a:lnSpc>
                <a:spcPct val="100000"/>
              </a:lnSpc>
            </a:pPr>
            <a:r>
              <a:rPr lang="en-US" sz="1600" b="0" i="0" noProof="0">
                <a:effectLst/>
                <a:ea typeface="Calibri" panose="020F0502020204030204" pitchFamily="34" charset="0"/>
              </a:rPr>
              <a:t>Dominion Virginia Power Average Rates:</a:t>
            </a:r>
          </a:p>
          <a:p>
            <a:pPr lvl="1" defTabSz="639763">
              <a:lnSpc>
                <a:spcPct val="100000"/>
              </a:lnSpc>
            </a:pPr>
            <a:r>
              <a:rPr lang="en-US" sz="1600" b="0" i="0" noProof="0">
                <a:effectLst/>
                <a:ea typeface="Calibri" panose="020F0502020204030204" pitchFamily="34" charset="0"/>
              </a:rPr>
              <a:t>Industrial: $0.0566 (1,000 kWh demand; 650,000 kWh/month)</a:t>
            </a:r>
          </a:p>
          <a:p>
            <a:pPr lvl="1" defTabSz="639763">
              <a:lnSpc>
                <a:spcPct val="100000"/>
              </a:lnSpc>
            </a:pPr>
            <a:r>
              <a:rPr lang="en-US" sz="1600" b="0" i="0" noProof="0">
                <a:effectLst/>
                <a:ea typeface="Calibri" panose="020F0502020204030204" pitchFamily="34" charset="0"/>
              </a:rPr>
              <a:t>Commercial: $0.1031 (40 kWh demand; 14,000 kWh/month)</a:t>
            </a:r>
          </a:p>
          <a:p>
            <a:pPr lvl="1" defTabSz="639763">
              <a:lnSpc>
                <a:spcPct val="100000"/>
              </a:lnSpc>
            </a:pPr>
            <a:r>
              <a:rPr lang="en-US" sz="1600" b="0" i="0" noProof="0">
                <a:effectLst/>
                <a:ea typeface="Calibri" panose="020F0502020204030204" pitchFamily="34" charset="0"/>
              </a:rPr>
              <a:t>Residential: $0.1132 (1,000 kWh/month)</a:t>
            </a:r>
          </a:p>
          <a:p>
            <a:pPr lvl="1" defTabSz="400050">
              <a:lnSpc>
                <a:spcPct val="100000"/>
              </a:lnSpc>
            </a:pPr>
            <a:r>
              <a:rPr lang="en-US" sz="1600" b="0" i="0" noProof="0">
                <a:effectLst/>
                <a:ea typeface="Calibri" panose="020F0502020204030204" pitchFamily="34" charset="0"/>
              </a:rPr>
              <a:t>(Source: Dominion Virginia Power; bundled rates as of January 1, 2018, cents per kWh)</a:t>
            </a:r>
            <a:endParaRPr lang="en-US" sz="1600" noProof="0">
              <a:ea typeface="Calibri" panose="020F0502020204030204" pitchFamily="34" charset="0"/>
            </a:endParaRPr>
          </a:p>
          <a:p>
            <a:pPr marL="0" indent="0" algn="l">
              <a:lnSpc>
                <a:spcPct val="100000"/>
              </a:lnSpc>
              <a:buNone/>
            </a:pPr>
            <a:r>
              <a:rPr lang="en-US" sz="1600" b="1" i="0" noProof="0">
                <a:effectLst/>
                <a:ea typeface="Calibri" panose="020F0502020204030204" pitchFamily="34" charset="0"/>
              </a:rPr>
              <a:t>Natural Gas</a:t>
            </a:r>
            <a:endParaRPr lang="en-US" sz="1600" b="0" i="0" noProof="0">
              <a:effectLst/>
              <a:ea typeface="Calibri" panose="020F0502020204030204" pitchFamily="34" charset="0"/>
            </a:endParaRPr>
          </a:p>
          <a:p>
            <a:pPr lvl="1">
              <a:lnSpc>
                <a:spcPct val="100000"/>
              </a:lnSpc>
            </a:pPr>
            <a:r>
              <a:rPr lang="en-US" sz="1600" b="0" i="0" noProof="0">
                <a:effectLst/>
                <a:ea typeface="Calibri" panose="020F0502020204030204" pitchFamily="34" charset="0"/>
              </a:rPr>
              <a:t>Natural gas service in Henrico is provided by Richmond Gas Works, with pressures up to 120 psi. </a:t>
            </a:r>
          </a:p>
          <a:p>
            <a:pPr marL="0" indent="0">
              <a:lnSpc>
                <a:spcPct val="100000"/>
              </a:lnSpc>
              <a:buNone/>
            </a:pPr>
            <a:r>
              <a:rPr lang="en-US" sz="1600" b="1" noProof="0">
                <a:ea typeface="Calibri" panose="020F0502020204030204" pitchFamily="34" charset="0"/>
              </a:rPr>
              <a:t>Researching Rates in Richmond</a:t>
            </a:r>
            <a:r>
              <a:rPr lang="en-US" sz="1600" noProof="0">
                <a:ea typeface="Calibri" panose="020F0502020204030204" pitchFamily="34" charset="0"/>
              </a:rPr>
              <a:t>: Currently investigating the rates offered in Richmond, particularly at the technology park. The website has not provided sufficient information, but this research is ongoing to understand and compare price differences between Richmond and Peoples Gas.</a:t>
            </a:r>
          </a:p>
        </p:txBody>
      </p:sp>
      <p:pic>
        <p:nvPicPr>
          <p:cNvPr id="6" name="Content Placeholder 4" descr="A blue and white tax form&#10;&#10;Description automatically generated">
            <a:extLst>
              <a:ext uri="{FF2B5EF4-FFF2-40B4-BE49-F238E27FC236}">
                <a16:creationId xmlns:a16="http://schemas.microsoft.com/office/drawing/2014/main" id="{846B0058-6849-093E-1925-890EA1168A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4701" y="1000234"/>
            <a:ext cx="3319532" cy="2607869"/>
          </a:xfrm>
          <a:prstGeom prst="rect">
            <a:avLst/>
          </a:prstGeom>
        </p:spPr>
      </p:pic>
      <p:sp>
        <p:nvSpPr>
          <p:cNvPr id="7" name="Slide Number Placeholder 23">
            <a:extLst>
              <a:ext uri="{FF2B5EF4-FFF2-40B4-BE49-F238E27FC236}">
                <a16:creationId xmlns:a16="http://schemas.microsoft.com/office/drawing/2014/main" id="{C3D0EC81-8FA2-7FB8-6CC3-2F92DBED4871}"/>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2</a:t>
            </a:fld>
            <a:endParaRPr lang="en-US" b="1" noProof="0">
              <a:solidFill>
                <a:schemeClr val="accent1"/>
              </a:solidFill>
              <a:latin typeface="Arial" panose="020B0604020202020204" pitchFamily="34" charset="0"/>
              <a:cs typeface="Arial" panose="020B0604020202020204" pitchFamily="34" charset="0"/>
            </a:endParaRPr>
          </a:p>
        </p:txBody>
      </p:sp>
      <p:sp>
        <p:nvSpPr>
          <p:cNvPr id="8" name="Text Placeholder 1">
            <a:extLst>
              <a:ext uri="{FF2B5EF4-FFF2-40B4-BE49-F238E27FC236}">
                <a16:creationId xmlns:a16="http://schemas.microsoft.com/office/drawing/2014/main" id="{F7D16B3C-5B51-4E65-A85C-F5DD258DA0A9}"/>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Utility Benchmarking: Richmond, VA</a:t>
            </a:r>
          </a:p>
        </p:txBody>
      </p:sp>
      <p:pic>
        <p:nvPicPr>
          <p:cNvPr id="11" name="Picture 10" descr="A close-up of blue text&#10;&#10;AI-generated content may be incorrect.">
            <a:extLst>
              <a:ext uri="{FF2B5EF4-FFF2-40B4-BE49-F238E27FC236}">
                <a16:creationId xmlns:a16="http://schemas.microsoft.com/office/drawing/2014/main" id="{7FC76FBA-2452-D9F9-0ACE-E9733E8098B8}"/>
              </a:ext>
            </a:extLst>
          </p:cNvPr>
          <p:cNvPicPr>
            <a:picLocks noChangeAspect="1"/>
          </p:cNvPicPr>
          <p:nvPr/>
        </p:nvPicPr>
        <p:blipFill>
          <a:blip r:embed="rId3"/>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26757095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50E1B26-F917-6A96-21FD-AE913C7E8D85}"/>
              </a:ext>
            </a:extLst>
          </p:cNvPr>
          <p:cNvSpPr>
            <a:spLocks noGrp="1"/>
          </p:cNvSpPr>
          <p:nvPr>
            <p:ph type="body" sz="quarter" idx="10"/>
          </p:nvPr>
        </p:nvSpPr>
        <p:spPr>
          <a:xfrm>
            <a:off x="716812" y="1779434"/>
            <a:ext cx="10758375" cy="3823690"/>
          </a:xfrm>
        </p:spPr>
        <p:txBody>
          <a:bodyPr>
            <a:normAutofit/>
          </a:bodyPr>
          <a:lstStyle/>
          <a:p>
            <a:pPr>
              <a:lnSpc>
                <a:spcPct val="150000"/>
              </a:lnSpc>
            </a:pPr>
            <a:r>
              <a:rPr lang="en-US" sz="1400" b="1" i="0" noProof="0" err="1">
                <a:effectLst/>
                <a:ea typeface="Calibri" panose="020F0502020204030204" pitchFamily="34" charset="0"/>
              </a:rPr>
              <a:t>Everstream</a:t>
            </a:r>
            <a:r>
              <a:rPr lang="en-US" sz="1400" b="1" i="0" noProof="0">
                <a:effectLst/>
                <a:ea typeface="Calibri" panose="020F0502020204030204" pitchFamily="34" charset="0"/>
              </a:rPr>
              <a:t> expands fiber network to Pittsburgh region: </a:t>
            </a:r>
            <a:r>
              <a:rPr lang="en-US" sz="1400" b="0" i="0" noProof="0">
                <a:effectLst/>
                <a:ea typeface="Calibri" panose="020F0502020204030204" pitchFamily="34" charset="0"/>
              </a:rPr>
              <a:t>Cleveland-based </a:t>
            </a:r>
            <a:r>
              <a:rPr lang="en-US" sz="1400" b="0" i="0" noProof="0" err="1">
                <a:effectLst/>
                <a:ea typeface="Calibri" panose="020F0502020204030204" pitchFamily="34" charset="0"/>
              </a:rPr>
              <a:t>Everstream</a:t>
            </a:r>
            <a:r>
              <a:rPr lang="en-US" sz="1400" b="0" i="0" noProof="0">
                <a:effectLst/>
                <a:ea typeface="Calibri" panose="020F0502020204030204" pitchFamily="34" charset="0"/>
              </a:rPr>
              <a:t> announced plans to extend its fiber network into Pennsylvania, which will connect both the Pittsburgh and Philadelphia regions to the company’s high-capacity networks in other cities across the Midwest.</a:t>
            </a:r>
          </a:p>
          <a:p>
            <a:pPr>
              <a:lnSpc>
                <a:spcPct val="150000"/>
              </a:lnSpc>
            </a:pPr>
            <a:r>
              <a:rPr lang="en-US" sz="1400" b="1" noProof="0"/>
              <a:t>Cross-State Connectivity</a:t>
            </a:r>
            <a:r>
              <a:rPr lang="en-US" sz="1400" noProof="0"/>
              <a:t>: Pennsylvania’s fiber network connects to surrounding states, offering broader regional connectivity options and enhancing the state’s appeal for businesses requiring multi-state operations.</a:t>
            </a:r>
            <a:endParaRPr lang="en-US" sz="1400" b="0" i="0" noProof="0">
              <a:effectLst/>
              <a:ea typeface="Calibri" panose="020F0502020204030204" pitchFamily="34" charset="0"/>
            </a:endParaRPr>
          </a:p>
          <a:p>
            <a:pPr>
              <a:lnSpc>
                <a:spcPct val="150000"/>
              </a:lnSpc>
            </a:pPr>
            <a:r>
              <a:rPr lang="en-US" sz="1400" b="1" noProof="0"/>
              <a:t>Fiber Connectivity in Major Cities:</a:t>
            </a:r>
            <a:r>
              <a:rPr lang="en-US" sz="1400" noProof="0"/>
              <a:t> Cities like Philadelphia, Pittsburgh, and Harrisburg have robust fiber networks, providing high-speed internet access and connectivity options for businesses, residents, and government facilities.</a:t>
            </a:r>
          </a:p>
          <a:p>
            <a:pPr>
              <a:lnSpc>
                <a:spcPct val="150000"/>
              </a:lnSpc>
            </a:pPr>
            <a:r>
              <a:rPr lang="en-US" sz="1400" b="1" noProof="0"/>
              <a:t>Comcast and Verizon: </a:t>
            </a:r>
            <a:r>
              <a:rPr lang="en-US" sz="1400" noProof="0"/>
              <a:t>Both companies participate in public-private partnerships to increase fiber connectivity, often with support from state programs. Comcast, for example, is involved in expanding high-speed internet to rural regions through local and state incentives.</a:t>
            </a:r>
          </a:p>
          <a:p>
            <a:endParaRPr lang="en-US" sz="2400" b="1" i="0" noProof="0">
              <a:effectLst/>
              <a:ea typeface="Calibri" panose="020F0502020204030204" pitchFamily="34" charset="0"/>
            </a:endParaRPr>
          </a:p>
        </p:txBody>
      </p:sp>
      <p:sp>
        <p:nvSpPr>
          <p:cNvPr id="6" name="Slide Number Placeholder 23">
            <a:extLst>
              <a:ext uri="{FF2B5EF4-FFF2-40B4-BE49-F238E27FC236}">
                <a16:creationId xmlns:a16="http://schemas.microsoft.com/office/drawing/2014/main" id="{DA964BCC-D9F8-B891-BA5C-1FB454917EFA}"/>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3</a:t>
            </a:fld>
            <a:endParaRPr lang="en-US" b="1" noProof="0">
              <a:solidFill>
                <a:schemeClr val="accent1"/>
              </a:solidFill>
              <a:latin typeface="Arial" panose="020B0604020202020204" pitchFamily="34" charset="0"/>
              <a:cs typeface="Arial" panose="020B0604020202020204" pitchFamily="34" charset="0"/>
            </a:endParaRPr>
          </a:p>
        </p:txBody>
      </p:sp>
      <p:sp>
        <p:nvSpPr>
          <p:cNvPr id="7" name="Text Placeholder 1">
            <a:extLst>
              <a:ext uri="{FF2B5EF4-FFF2-40B4-BE49-F238E27FC236}">
                <a16:creationId xmlns:a16="http://schemas.microsoft.com/office/drawing/2014/main" id="{B33C0302-9C72-696D-D819-FBBBB5578EAC}"/>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Pennsylvania Fiber Advantage: Expanding Capacity in Pittsburgh</a:t>
            </a:r>
          </a:p>
        </p:txBody>
      </p:sp>
      <p:pic>
        <p:nvPicPr>
          <p:cNvPr id="10" name="Picture 9" descr="A close-up of blue text&#10;&#10;AI-generated content may be incorrect.">
            <a:extLst>
              <a:ext uri="{FF2B5EF4-FFF2-40B4-BE49-F238E27FC236}">
                <a16:creationId xmlns:a16="http://schemas.microsoft.com/office/drawing/2014/main" id="{8C09BE9E-1C09-65BA-8558-C490F4FF676A}"/>
              </a:ext>
            </a:extLst>
          </p:cNvPr>
          <p:cNvPicPr>
            <a:picLocks noChangeAspect="1"/>
          </p:cNvPicPr>
          <p:nvPr/>
        </p:nvPicPr>
        <p:blipFill>
          <a:blip r:embed="rId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25327215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26ECA8E-DDB2-8DAD-2588-D06826A99441}"/>
              </a:ext>
            </a:extLst>
          </p:cNvPr>
          <p:cNvSpPr txBox="1"/>
          <p:nvPr/>
        </p:nvSpPr>
        <p:spPr>
          <a:xfrm>
            <a:off x="8223417" y="2188962"/>
            <a:ext cx="3339295" cy="3323987"/>
          </a:xfrm>
          <a:prstGeom prst="rect">
            <a:avLst/>
          </a:prstGeom>
          <a:solidFill>
            <a:schemeClr val="accent1">
              <a:lumMod val="20000"/>
              <a:lumOff val="80000"/>
            </a:schemeClr>
          </a:solidFill>
        </p:spPr>
        <p:txBody>
          <a:bodyPr wrap="square" lIns="91440" tIns="45720" rIns="91440" bIns="45720" rtlCol="0" anchor="t">
            <a:spAutoFit/>
          </a:bodyPr>
          <a:lstStyle/>
          <a:p>
            <a:pPr algn="ctr"/>
            <a:r>
              <a:rPr lang="en-US" sz="1400" b="1" noProof="0">
                <a:latin typeface="Arial" panose="020B0604020202020204" pitchFamily="34" charset="0"/>
                <a:cs typeface="Arial" panose="020B0604020202020204" pitchFamily="34" charset="0"/>
              </a:rPr>
              <a:t>Key Insights</a:t>
            </a:r>
            <a:r>
              <a:rPr lang="en-US" sz="1400" noProof="0">
                <a:latin typeface="Arial" panose="020B0604020202020204" pitchFamily="34" charset="0"/>
                <a:cs typeface="Arial" panose="020B0604020202020204" pitchFamily="34" charset="0"/>
              </a:rPr>
              <a:t>: Pennsylvania</a:t>
            </a:r>
          </a:p>
          <a:p>
            <a:endParaRPr lang="en-US" sz="1400" noProof="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noProof="0">
                <a:latin typeface="Arial" panose="020B0604020202020204" pitchFamily="34" charset="0"/>
                <a:cs typeface="Arial" panose="020B0604020202020204" pitchFamily="34" charset="0"/>
              </a:rPr>
              <a:t>The area highlighted in dark blue indicates regions with </a:t>
            </a:r>
            <a:r>
              <a:rPr lang="en-US" sz="1400" b="1" noProof="0">
                <a:latin typeface="Arial" panose="020B0604020202020204" pitchFamily="34" charset="0"/>
                <a:cs typeface="Arial" panose="020B0604020202020204" pitchFamily="34" charset="0"/>
              </a:rPr>
              <a:t>high fiber coverage</a:t>
            </a:r>
            <a:r>
              <a:rPr lang="en-US" sz="1400" noProof="0">
                <a:latin typeface="Arial" panose="020B0604020202020204" pitchFamily="34" charset="0"/>
                <a:cs typeface="Arial" panose="020B0604020202020204" pitchFamily="34" charset="0"/>
              </a:rPr>
              <a:t>, following a graded scale. </a:t>
            </a:r>
          </a:p>
          <a:p>
            <a:pPr marL="285750" indent="-285750">
              <a:buFont typeface="Arial" panose="020B0604020202020204" pitchFamily="34" charset="0"/>
              <a:buChar char="•"/>
            </a:pPr>
            <a:endParaRPr lang="en-US" sz="1400" noProof="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noProof="0">
                <a:latin typeface="Arial" panose="020B0604020202020204" pitchFamily="34" charset="0"/>
                <a:cs typeface="Arial" panose="020B0604020202020204" pitchFamily="34" charset="0"/>
              </a:rPr>
              <a:t>In contrast, the greyed-out areas represent zones </a:t>
            </a:r>
            <a:r>
              <a:rPr lang="en-US" sz="1400" b="1" noProof="0">
                <a:latin typeface="Arial" panose="020B0604020202020204" pitchFamily="34" charset="0"/>
                <a:cs typeface="Arial" panose="020B0604020202020204" pitchFamily="34" charset="0"/>
              </a:rPr>
              <a:t>with no fiber coverage</a:t>
            </a:r>
            <a:r>
              <a:rPr lang="en-US" sz="1400" noProof="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endParaRPr lang="en-US" sz="1400" noProof="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noProof="0">
                <a:latin typeface="Arial" panose="020B0604020202020204" pitchFamily="34" charset="0"/>
                <a:cs typeface="Arial" panose="020B0604020202020204" pitchFamily="34" charset="0"/>
              </a:rPr>
              <a:t>Pittsburgh and Philadelphia</a:t>
            </a:r>
            <a:r>
              <a:rPr lang="en-US" sz="1400" noProof="0">
                <a:latin typeface="Arial" panose="020B0604020202020204" pitchFamily="34" charset="0"/>
                <a:cs typeface="Arial" panose="020B0604020202020204" pitchFamily="34" charset="0"/>
              </a:rPr>
              <a:t> are two major cities with best fiber coverage, and followed by other regions like Harrisburg</a:t>
            </a:r>
            <a:r>
              <a:rPr lang="en-US" sz="1400">
                <a:latin typeface="Arial" panose="020B0604020202020204" pitchFamily="34" charset="0"/>
                <a:cs typeface="Arial" panose="020B0604020202020204" pitchFamily="34" charset="0"/>
              </a:rPr>
              <a:t> and North Central PA.</a:t>
            </a:r>
            <a:endParaRPr lang="en-US" sz="1400" noProof="0">
              <a:latin typeface="Arial" panose="020B0604020202020204" pitchFamily="34" charset="0"/>
              <a:cs typeface="Arial" panose="020B0604020202020204" pitchFamily="34" charset="0"/>
            </a:endParaRPr>
          </a:p>
        </p:txBody>
      </p:sp>
      <p:pic>
        <p:nvPicPr>
          <p:cNvPr id="4" name="Picture 3" descr="A screenshot of a map&#10;&#10;Description automatically generated">
            <a:extLst>
              <a:ext uri="{FF2B5EF4-FFF2-40B4-BE49-F238E27FC236}">
                <a16:creationId xmlns:a16="http://schemas.microsoft.com/office/drawing/2014/main" id="{8CCCFA27-2D53-5EFE-64C6-7AFB875B3195}"/>
              </a:ext>
            </a:extLst>
          </p:cNvPr>
          <p:cNvPicPr>
            <a:picLocks noChangeAspect="1"/>
          </p:cNvPicPr>
          <p:nvPr/>
        </p:nvPicPr>
        <p:blipFill>
          <a:blip r:embed="rId2"/>
          <a:stretch>
            <a:fillRect/>
          </a:stretch>
        </p:blipFill>
        <p:spPr>
          <a:xfrm>
            <a:off x="629288" y="1754854"/>
            <a:ext cx="7172298" cy="3986090"/>
          </a:xfrm>
          <a:prstGeom prst="rect">
            <a:avLst/>
          </a:prstGeom>
        </p:spPr>
      </p:pic>
      <p:pic>
        <p:nvPicPr>
          <p:cNvPr id="7" name="Picture 6" descr="A close-up of blue text&#10;&#10;AI-generated content may be incorrect.">
            <a:extLst>
              <a:ext uri="{FF2B5EF4-FFF2-40B4-BE49-F238E27FC236}">
                <a16:creationId xmlns:a16="http://schemas.microsoft.com/office/drawing/2014/main" id="{F9199CDD-0E4D-2410-8152-92F8F30A23AD}"/>
              </a:ext>
            </a:extLst>
          </p:cNvPr>
          <p:cNvPicPr>
            <a:picLocks noChangeAspect="1"/>
          </p:cNvPicPr>
          <p:nvPr/>
        </p:nvPicPr>
        <p:blipFill>
          <a:blip r:embed="rId3"/>
          <a:stretch>
            <a:fillRect/>
          </a:stretch>
        </p:blipFill>
        <p:spPr>
          <a:xfrm>
            <a:off x="7801586" y="5979638"/>
            <a:ext cx="4666600" cy="1120163"/>
          </a:xfrm>
          <a:prstGeom prst="rect">
            <a:avLst/>
          </a:prstGeom>
        </p:spPr>
      </p:pic>
      <p:sp>
        <p:nvSpPr>
          <p:cNvPr id="9" name="Slide Number Placeholder 23">
            <a:extLst>
              <a:ext uri="{FF2B5EF4-FFF2-40B4-BE49-F238E27FC236}">
                <a16:creationId xmlns:a16="http://schemas.microsoft.com/office/drawing/2014/main" id="{66F3E826-E6F1-BCA5-2F73-6813596CBB37}"/>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4</a:t>
            </a:fld>
            <a:endParaRPr lang="en-US" b="1" noProof="0">
              <a:solidFill>
                <a:schemeClr val="accent1"/>
              </a:solidFill>
              <a:latin typeface="Arial" panose="020B0604020202020204" pitchFamily="34" charset="0"/>
              <a:cs typeface="Arial" panose="020B0604020202020204" pitchFamily="34" charset="0"/>
            </a:endParaRPr>
          </a:p>
        </p:txBody>
      </p:sp>
      <p:sp>
        <p:nvSpPr>
          <p:cNvPr id="5" name="Text Placeholder 1">
            <a:extLst>
              <a:ext uri="{FF2B5EF4-FFF2-40B4-BE49-F238E27FC236}">
                <a16:creationId xmlns:a16="http://schemas.microsoft.com/office/drawing/2014/main" id="{5F0163AC-68EE-D60C-D088-F50223810984}"/>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FCC National Broadband Map: Pittsburgh’s Broadband Density and Regional Connectivity Hub</a:t>
            </a:r>
          </a:p>
        </p:txBody>
      </p:sp>
    </p:spTree>
    <p:extLst>
      <p:ext uri="{BB962C8B-B14F-4D97-AF65-F5344CB8AC3E}">
        <p14:creationId xmlns:p14="http://schemas.microsoft.com/office/powerpoint/2010/main" val="6582881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3222A6-E06F-D774-1771-D9D92C8E1D2E}"/>
              </a:ext>
            </a:extLst>
          </p:cNvPr>
          <p:cNvSpPr>
            <a:spLocks noGrp="1"/>
          </p:cNvSpPr>
          <p:nvPr>
            <p:ph type="body" sz="quarter" idx="10"/>
          </p:nvPr>
        </p:nvSpPr>
        <p:spPr>
          <a:xfrm>
            <a:off x="480877" y="2109730"/>
            <a:ext cx="4820944" cy="3687955"/>
          </a:xfrm>
          <a:solidFill>
            <a:schemeClr val="accent1">
              <a:lumMod val="20000"/>
              <a:lumOff val="80000"/>
            </a:schemeClr>
          </a:solidFill>
        </p:spPr>
        <p:txBody>
          <a:bodyPr vert="horz" lIns="0" tIns="45720" rIns="0" bIns="45720" rtlCol="0" anchor="t">
            <a:noAutofit/>
          </a:bodyPr>
          <a:lstStyle/>
          <a:p>
            <a:pPr marL="0" indent="0" algn="ctr">
              <a:lnSpc>
                <a:spcPct val="100000"/>
              </a:lnSpc>
              <a:buNone/>
            </a:pPr>
            <a:r>
              <a:rPr lang="en-US" sz="1600" b="1" noProof="0">
                <a:solidFill>
                  <a:schemeClr val="accent1"/>
                </a:solidFill>
                <a:ea typeface="Calibri" panose="020F0502020204030204" pitchFamily="34" charset="0"/>
              </a:rPr>
              <a:t>Key Insights: Pittsburgh</a:t>
            </a:r>
            <a:endParaRPr lang="en-US" sz="1600" noProof="0">
              <a:solidFill>
                <a:schemeClr val="accent1"/>
              </a:solidFill>
            </a:endParaRPr>
          </a:p>
          <a:p>
            <a:pPr lvl="1">
              <a:lnSpc>
                <a:spcPct val="100000"/>
              </a:lnSpc>
              <a:buFont typeface="Arial" pitchFamily="2" charset="2"/>
              <a:buChar char="•"/>
            </a:pPr>
            <a:r>
              <a:rPr lang="en-US" sz="1200" noProof="0">
                <a:solidFill>
                  <a:schemeClr val="accent1"/>
                </a:solidFill>
                <a:ea typeface="Calibri" panose="020F0502020204030204" pitchFamily="34" charset="0"/>
              </a:rPr>
              <a:t>This image shows that Pittsburgh has strong fiber connectivity around the city, making it well-suited for businesses. </a:t>
            </a:r>
          </a:p>
          <a:p>
            <a:pPr lvl="1">
              <a:lnSpc>
                <a:spcPct val="100000"/>
              </a:lnSpc>
              <a:buFont typeface="Arial" pitchFamily="2" charset="2"/>
              <a:buChar char="•"/>
            </a:pPr>
            <a:r>
              <a:rPr lang="en-US" sz="1200" noProof="0">
                <a:solidFill>
                  <a:schemeClr val="accent1"/>
                </a:solidFill>
                <a:ea typeface="Calibri" panose="020F0502020204030204" pitchFamily="34" charset="0"/>
              </a:rPr>
              <a:t>Key areas like Monroeville, Pittsburgh International Airport, McKees Rocks, Oakmont, and Ross Township also benefit from solid fiber coverage. </a:t>
            </a:r>
          </a:p>
          <a:p>
            <a:pPr lvl="1">
              <a:lnSpc>
                <a:spcPct val="100000"/>
              </a:lnSpc>
              <a:buFont typeface="Arial" pitchFamily="2" charset="2"/>
              <a:buChar char="•"/>
            </a:pPr>
            <a:r>
              <a:rPr lang="en-US" sz="1200" noProof="0">
                <a:solidFill>
                  <a:schemeClr val="accent1"/>
                </a:solidFill>
                <a:ea typeface="Calibri" panose="020F0502020204030204" pitchFamily="34" charset="0"/>
              </a:rPr>
              <a:t>These locations present a promising future for data centers due to their strong fiber connectivity, access to renewable energy sources, and proximity to key infrastructure for logistics and personnel. </a:t>
            </a:r>
          </a:p>
          <a:p>
            <a:pPr lvl="1">
              <a:lnSpc>
                <a:spcPct val="100000"/>
              </a:lnSpc>
              <a:buFont typeface="Arial" pitchFamily="2" charset="2"/>
              <a:buChar char="•"/>
            </a:pPr>
            <a:r>
              <a:rPr lang="en-US" sz="1200" noProof="0">
                <a:solidFill>
                  <a:schemeClr val="accent1"/>
                </a:solidFill>
                <a:ea typeface="Calibri" panose="020F0502020204030204" pitchFamily="34" charset="0"/>
              </a:rPr>
              <a:t>Ross Township, in particular, offers the advantage of lower operational costs while remaining close to Pittsburgh, making it an ideal choice for data center operations outside the city center. These factors combined create an attractive environment for businesses seeking sustainable and cost-effective data center locations.</a:t>
            </a:r>
          </a:p>
          <a:p>
            <a:pPr marL="0" indent="0">
              <a:lnSpc>
                <a:spcPct val="100000"/>
              </a:lnSpc>
              <a:buNone/>
            </a:pPr>
            <a:endParaRPr lang="en-US" sz="1200" noProof="0">
              <a:solidFill>
                <a:schemeClr val="accent1"/>
              </a:solidFill>
              <a:ea typeface="Calibri" panose="020F0502020204030204" pitchFamily="34" charset="0"/>
            </a:endParaRPr>
          </a:p>
        </p:txBody>
      </p:sp>
      <p:pic>
        <p:nvPicPr>
          <p:cNvPr id="6" name="Content Placeholder 4" descr="A screenshot of a map&#10;&#10;Description automatically generated">
            <a:extLst>
              <a:ext uri="{FF2B5EF4-FFF2-40B4-BE49-F238E27FC236}">
                <a16:creationId xmlns:a16="http://schemas.microsoft.com/office/drawing/2014/main" id="{9EB05A65-68A9-0340-EF02-A9623F2264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5717" y="2425430"/>
            <a:ext cx="6408184" cy="3149959"/>
          </a:xfrm>
          <a:prstGeom prst="rect">
            <a:avLst/>
          </a:prstGeom>
        </p:spPr>
      </p:pic>
      <p:pic>
        <p:nvPicPr>
          <p:cNvPr id="7" name="Picture 6" descr="A close-up of blue text&#10;&#10;AI-generated content may be incorrect.">
            <a:extLst>
              <a:ext uri="{FF2B5EF4-FFF2-40B4-BE49-F238E27FC236}">
                <a16:creationId xmlns:a16="http://schemas.microsoft.com/office/drawing/2014/main" id="{17B414EF-81DC-B8AA-291E-DE47AF68B8BD}"/>
              </a:ext>
            </a:extLst>
          </p:cNvPr>
          <p:cNvPicPr>
            <a:picLocks noChangeAspect="1"/>
          </p:cNvPicPr>
          <p:nvPr/>
        </p:nvPicPr>
        <p:blipFill>
          <a:blip r:embed="rId3"/>
          <a:stretch>
            <a:fillRect/>
          </a:stretch>
        </p:blipFill>
        <p:spPr>
          <a:xfrm>
            <a:off x="7801586" y="5979638"/>
            <a:ext cx="4666600" cy="1120163"/>
          </a:xfrm>
          <a:prstGeom prst="rect">
            <a:avLst/>
          </a:prstGeom>
        </p:spPr>
      </p:pic>
      <p:sp>
        <p:nvSpPr>
          <p:cNvPr id="8" name="Slide Number Placeholder 23">
            <a:extLst>
              <a:ext uri="{FF2B5EF4-FFF2-40B4-BE49-F238E27FC236}">
                <a16:creationId xmlns:a16="http://schemas.microsoft.com/office/drawing/2014/main" id="{18BC0FD6-D58E-DF4F-0F76-AFBFA10FB3AA}"/>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5</a:t>
            </a:fld>
            <a:endParaRPr lang="en-US" b="1" noProof="0">
              <a:solidFill>
                <a:schemeClr val="accent1"/>
              </a:solidFill>
              <a:latin typeface="Arial" panose="020B0604020202020204" pitchFamily="34" charset="0"/>
              <a:cs typeface="Arial" panose="020B0604020202020204" pitchFamily="34" charset="0"/>
            </a:endParaRPr>
          </a:p>
        </p:txBody>
      </p:sp>
      <p:sp>
        <p:nvSpPr>
          <p:cNvPr id="3" name="Text Placeholder 1">
            <a:extLst>
              <a:ext uri="{FF2B5EF4-FFF2-40B4-BE49-F238E27FC236}">
                <a16:creationId xmlns:a16="http://schemas.microsoft.com/office/drawing/2014/main" id="{4950CF55-C6FA-26CD-9F37-7495EAC0ED57}"/>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Pittsburgh Fiber Connectivity for Businesses: Local Connectivity Clusters and Data Center Target Zones</a:t>
            </a:r>
          </a:p>
        </p:txBody>
      </p:sp>
    </p:spTree>
    <p:extLst>
      <p:ext uri="{BB962C8B-B14F-4D97-AF65-F5344CB8AC3E}">
        <p14:creationId xmlns:p14="http://schemas.microsoft.com/office/powerpoint/2010/main" val="39651762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2025D37-D310-3323-6BF7-9A1397E213BA}"/>
              </a:ext>
            </a:extLst>
          </p:cNvPr>
          <p:cNvSpPr txBox="1"/>
          <p:nvPr/>
        </p:nvSpPr>
        <p:spPr>
          <a:xfrm>
            <a:off x="5871883" y="1349613"/>
            <a:ext cx="3684493" cy="1938992"/>
          </a:xfrm>
          <a:prstGeom prst="rect">
            <a:avLst/>
          </a:prstGeom>
          <a:solidFill>
            <a:schemeClr val="accent2">
              <a:lumMod val="20000"/>
              <a:lumOff val="80000"/>
            </a:schemeClr>
          </a:solidFill>
        </p:spPr>
        <p:txBody>
          <a:bodyPr wrap="square" lIns="91440" tIns="45720" rIns="91440" bIns="45720" rtlCol="0" anchor="t">
            <a:spAutoFit/>
          </a:bodyPr>
          <a:lstStyle/>
          <a:p>
            <a:pPr algn="just"/>
            <a:r>
              <a:rPr lang="en-US" sz="1200">
                <a:latin typeface="Arial" panose="020B0604020202020204" pitchFamily="34" charset="0"/>
                <a:ea typeface="Calibri" panose="020F0502020204030204" pitchFamily="34" charset="0"/>
                <a:cs typeface="Arial" panose="020B0604020202020204" pitchFamily="34" charset="0"/>
              </a:rPr>
              <a:t>D</a:t>
            </a:r>
            <a:r>
              <a:rPr lang="en-US" sz="1200" noProof="0" err="1">
                <a:latin typeface="Arial" panose="020B0604020202020204" pitchFamily="34" charset="0"/>
                <a:ea typeface="Calibri" panose="020F0502020204030204" pitchFamily="34" charset="0"/>
                <a:cs typeface="Arial" panose="020B0604020202020204" pitchFamily="34" charset="0"/>
              </a:rPr>
              <a:t>ata</a:t>
            </a:r>
            <a:r>
              <a:rPr lang="en-US" sz="1200" noProof="0">
                <a:latin typeface="Arial" panose="020B0604020202020204" pitchFamily="34" charset="0"/>
                <a:ea typeface="Calibri" panose="020F0502020204030204" pitchFamily="34" charset="0"/>
                <a:cs typeface="Arial" panose="020B0604020202020204" pitchFamily="34" charset="0"/>
              </a:rPr>
              <a:t> centers in Virginia:</a:t>
            </a:r>
          </a:p>
          <a:p>
            <a:pPr algn="just"/>
            <a:endParaRPr lang="en-US" sz="1200" noProof="0">
              <a:latin typeface="Arial" panose="020B0604020202020204" pitchFamily="34" charset="0"/>
              <a:ea typeface="Calibri" panose="020F0502020204030204" pitchFamily="34" charset="0"/>
              <a:cs typeface="Arial" panose="020B0604020202020204" pitchFamily="34" charset="0"/>
            </a:endParaRPr>
          </a:p>
          <a:p>
            <a:pPr algn="just"/>
            <a:r>
              <a:rPr lang="en-US" sz="1200" b="0" i="0" noProof="0">
                <a:effectLst/>
                <a:latin typeface="Arial" panose="020B0604020202020204" pitchFamily="34" charset="0"/>
                <a:ea typeface="Calibri" panose="020F0502020204030204" pitchFamily="34" charset="0"/>
                <a:cs typeface="Arial" panose="020B0604020202020204" pitchFamily="34" charset="0"/>
              </a:rPr>
              <a:t>CyrusOne Northern Virginia Data Center</a:t>
            </a:r>
          </a:p>
          <a:p>
            <a:pPr algn="just"/>
            <a:r>
              <a:rPr lang="en-US" sz="1200" noProof="0">
                <a:latin typeface="Arial" panose="020B0604020202020204" pitchFamily="34" charset="0"/>
                <a:ea typeface="Calibri" panose="020F0502020204030204" pitchFamily="34" charset="0"/>
                <a:cs typeface="Arial" panose="020B0604020202020204" pitchFamily="34" charset="0"/>
              </a:rPr>
              <a:t>Location:21111 Ridgetop Cir, Sterling, VA 20166</a:t>
            </a:r>
          </a:p>
          <a:p>
            <a:pPr algn="just"/>
            <a:endParaRPr lang="en-US" sz="1200" noProof="0">
              <a:latin typeface="Arial" panose="020B0604020202020204" pitchFamily="34" charset="0"/>
              <a:ea typeface="Calibri" panose="020F0502020204030204" pitchFamily="34" charset="0"/>
              <a:cs typeface="Arial" panose="020B0604020202020204" pitchFamily="34" charset="0"/>
            </a:endParaRPr>
          </a:p>
          <a:p>
            <a:pPr algn="just"/>
            <a:r>
              <a:rPr lang="en-US" sz="1200" noProof="0">
                <a:latin typeface="Arial" panose="020B0604020202020204" pitchFamily="34" charset="0"/>
                <a:ea typeface="Calibri" panose="020F0502020204030204" pitchFamily="34" charset="0"/>
                <a:cs typeface="Arial" panose="020B0604020202020204" pitchFamily="34" charset="0"/>
              </a:rPr>
              <a:t>Provider: </a:t>
            </a:r>
            <a:r>
              <a:rPr lang="en-US" sz="1200" b="0" i="0" noProof="0">
                <a:effectLst/>
                <a:latin typeface="Arial" panose="020B0604020202020204" pitchFamily="34" charset="0"/>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Cogent Communication</a:t>
            </a:r>
            <a:endParaRPr lang="en-US" sz="1200" b="0" i="0" noProof="0">
              <a:effectLst/>
              <a:latin typeface="Arial" panose="020B0604020202020204" pitchFamily="34" charset="0"/>
              <a:ea typeface="Calibri" panose="020F0502020204030204" pitchFamily="34" charset="0"/>
              <a:cs typeface="Arial" panose="020B0604020202020204" pitchFamily="34" charset="0"/>
            </a:endParaRPr>
          </a:p>
          <a:p>
            <a:pPr algn="just"/>
            <a:r>
              <a:rPr lang="en-US" sz="1200" noProof="0">
                <a:latin typeface="Arial" panose="020B0604020202020204" pitchFamily="34" charset="0"/>
                <a:ea typeface="Calibri" panose="020F0502020204030204" pitchFamily="34" charset="0"/>
                <a:cs typeface="Arial" panose="020B0604020202020204" pitchFamily="34" charset="0"/>
              </a:rPr>
              <a:t>Technology: Fiber to the premises </a:t>
            </a:r>
          </a:p>
          <a:p>
            <a:pPr algn="just"/>
            <a:r>
              <a:rPr lang="en-US" sz="1200" i="0" noProof="0">
                <a:effectLst/>
                <a:latin typeface="Arial" panose="020B0604020202020204" pitchFamily="34" charset="0"/>
                <a:ea typeface="Calibri" panose="020F0502020204030204" pitchFamily="34" charset="0"/>
                <a:cs typeface="Arial" panose="020B0604020202020204" pitchFamily="34" charset="0"/>
              </a:rPr>
              <a:t>Download (Mbps): </a:t>
            </a:r>
            <a:r>
              <a:rPr lang="en-US" sz="1200" noProof="0">
                <a:latin typeface="Arial" panose="020B0604020202020204" pitchFamily="34" charset="0"/>
                <a:ea typeface="Calibri" panose="020F0502020204030204" pitchFamily="34" charset="0"/>
                <a:cs typeface="Arial" panose="020B0604020202020204" pitchFamily="34" charset="0"/>
              </a:rPr>
              <a:t>10,000</a:t>
            </a:r>
            <a:endParaRPr lang="en-US" sz="1200" i="0" noProof="0">
              <a:effectLst/>
              <a:latin typeface="Arial" panose="020B0604020202020204" pitchFamily="34" charset="0"/>
              <a:ea typeface="Calibri" panose="020F0502020204030204" pitchFamily="34" charset="0"/>
              <a:cs typeface="Arial" panose="020B0604020202020204" pitchFamily="34" charset="0"/>
            </a:endParaRPr>
          </a:p>
          <a:p>
            <a:pPr algn="just"/>
            <a:r>
              <a:rPr lang="en-US" sz="1200" i="0" noProof="0">
                <a:effectLst/>
                <a:latin typeface="Arial" panose="020B0604020202020204" pitchFamily="34" charset="0"/>
                <a:ea typeface="Calibri" panose="020F0502020204030204" pitchFamily="34" charset="0"/>
                <a:cs typeface="Arial" panose="020B0604020202020204" pitchFamily="34" charset="0"/>
              </a:rPr>
              <a:t>Upload (Mbps)</a:t>
            </a:r>
            <a:r>
              <a:rPr lang="en-US" sz="1200" i="0">
                <a:effectLst/>
                <a:latin typeface="Arial" panose="020B0604020202020204" pitchFamily="34" charset="0"/>
                <a:ea typeface="Calibri" panose="020F0502020204030204" pitchFamily="34" charset="0"/>
                <a:cs typeface="Arial" panose="020B0604020202020204" pitchFamily="34" charset="0"/>
              </a:rPr>
              <a:t>: </a:t>
            </a:r>
            <a:r>
              <a:rPr lang="en-US" sz="1200" noProof="0">
                <a:latin typeface="Arial" panose="020B0604020202020204" pitchFamily="34" charset="0"/>
                <a:ea typeface="Calibri" panose="020F0502020204030204" pitchFamily="34" charset="0"/>
                <a:cs typeface="Arial" panose="020B0604020202020204" pitchFamily="34" charset="0"/>
              </a:rPr>
              <a:t>10,000</a:t>
            </a:r>
          </a:p>
          <a:p>
            <a:pPr algn="just"/>
            <a:endParaRPr lang="en-US" sz="1200" noProof="0">
              <a:latin typeface="Arial" panose="020B0604020202020204" pitchFamily="34" charset="0"/>
              <a:ea typeface="Calibri" panose="020F0502020204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32D9C68E-B535-15A9-3756-4E321F22EF7D}"/>
              </a:ext>
            </a:extLst>
          </p:cNvPr>
          <p:cNvSpPr txBox="1"/>
          <p:nvPr/>
        </p:nvSpPr>
        <p:spPr>
          <a:xfrm>
            <a:off x="1502483" y="1363450"/>
            <a:ext cx="3921164" cy="1938992"/>
          </a:xfrm>
          <a:prstGeom prst="rect">
            <a:avLst/>
          </a:prstGeom>
          <a:solidFill>
            <a:schemeClr val="accent2">
              <a:lumMod val="20000"/>
              <a:lumOff val="80000"/>
            </a:schemeClr>
          </a:solidFill>
        </p:spPr>
        <p:txBody>
          <a:bodyPr wrap="square" lIns="91440" tIns="45720" rIns="91440" bIns="45720" rtlCol="0" anchor="t">
            <a:spAutoFit/>
          </a:bodyPr>
          <a:lstStyle/>
          <a:p>
            <a:pPr algn="just"/>
            <a:r>
              <a:rPr lang="en-US" sz="1200" noProof="0">
                <a:latin typeface="Arial" panose="020B0604020202020204" pitchFamily="34" charset="0"/>
                <a:ea typeface="Calibri" panose="020F0502020204030204" pitchFamily="34" charset="0"/>
                <a:cs typeface="Arial" panose="020B0604020202020204" pitchFamily="34" charset="0"/>
              </a:rPr>
              <a:t>Most of the current data centers which are situated in Pittsburgh have selected locations where Verizon provides their fiber connectivity business only services.</a:t>
            </a:r>
          </a:p>
          <a:p>
            <a:pPr algn="just"/>
            <a:r>
              <a:rPr lang="en-US" sz="1200" noProof="0">
                <a:latin typeface="Arial" panose="020B0604020202020204" pitchFamily="34" charset="0"/>
                <a:ea typeface="Calibri" panose="020F0502020204030204" pitchFamily="34" charset="0"/>
                <a:cs typeface="Arial" panose="020B0604020202020204" pitchFamily="34" charset="0"/>
              </a:rPr>
              <a:t>For example: </a:t>
            </a:r>
          </a:p>
          <a:p>
            <a:pPr algn="just"/>
            <a:endParaRPr lang="en-US" sz="1200" noProof="0">
              <a:latin typeface="Arial" panose="020B0604020202020204" pitchFamily="34" charset="0"/>
              <a:ea typeface="Calibri" panose="020F0502020204030204" pitchFamily="34" charset="0"/>
              <a:cs typeface="Arial" panose="020B0604020202020204" pitchFamily="34" charset="0"/>
            </a:endParaRPr>
          </a:p>
          <a:p>
            <a:pPr algn="just"/>
            <a:r>
              <a:rPr lang="en-US" sz="1200" noProof="0">
                <a:latin typeface="Arial" panose="020B0604020202020204" pitchFamily="34" charset="0"/>
                <a:ea typeface="Calibri" panose="020F0502020204030204" pitchFamily="34" charset="0"/>
                <a:cs typeface="Arial" panose="020B0604020202020204" pitchFamily="34" charset="0"/>
              </a:rPr>
              <a:t>Provider: Verizon</a:t>
            </a:r>
          </a:p>
          <a:p>
            <a:pPr algn="just"/>
            <a:r>
              <a:rPr lang="en-US" sz="1200" noProof="0">
                <a:latin typeface="Arial" panose="020B0604020202020204" pitchFamily="34" charset="0"/>
                <a:ea typeface="Calibri" panose="020F0502020204030204" pitchFamily="34" charset="0"/>
                <a:cs typeface="Arial" panose="020B0604020202020204" pitchFamily="34" charset="0"/>
              </a:rPr>
              <a:t>Technology: Fiber to Premises </a:t>
            </a:r>
          </a:p>
          <a:p>
            <a:pPr algn="just"/>
            <a:r>
              <a:rPr lang="en-US" sz="1200" noProof="0">
                <a:latin typeface="Arial" panose="020B0604020202020204" pitchFamily="34" charset="0"/>
                <a:ea typeface="Calibri" panose="020F0502020204030204" pitchFamily="34" charset="0"/>
                <a:cs typeface="Arial" panose="020B0604020202020204" pitchFamily="34" charset="0"/>
              </a:rPr>
              <a:t>Download (Mbps): 940</a:t>
            </a:r>
          </a:p>
          <a:p>
            <a:pPr algn="just"/>
            <a:r>
              <a:rPr lang="en-US" sz="1200" noProof="0">
                <a:latin typeface="Arial" panose="020B0604020202020204" pitchFamily="34" charset="0"/>
                <a:ea typeface="Calibri" panose="020F0502020204030204" pitchFamily="34" charset="0"/>
                <a:cs typeface="Arial" panose="020B0604020202020204" pitchFamily="34" charset="0"/>
              </a:rPr>
              <a:t>Upload (Mbps): 880</a:t>
            </a:r>
          </a:p>
          <a:p>
            <a:pPr algn="just"/>
            <a:r>
              <a:rPr lang="en-US" sz="1200" noProof="0">
                <a:latin typeface="Arial" panose="020B0604020202020204" pitchFamily="34" charset="0"/>
                <a:ea typeface="Calibri" panose="020F0502020204030204" pitchFamily="34" charset="0"/>
                <a:cs typeface="Arial" panose="020B0604020202020204" pitchFamily="34" charset="0"/>
              </a:rPr>
              <a:t>Locations: </a:t>
            </a:r>
            <a:r>
              <a:rPr lang="en-US" sz="1200" b="0" i="0" noProof="0">
                <a:effectLst/>
                <a:latin typeface="Arial" panose="020B0604020202020204" pitchFamily="34" charset="0"/>
                <a:ea typeface="Calibri" panose="020F0502020204030204" pitchFamily="34" charset="0"/>
                <a:cs typeface="Arial" panose="020B0604020202020204" pitchFamily="34" charset="0"/>
              </a:rPr>
              <a:t>CenturyLink</a:t>
            </a:r>
            <a:r>
              <a:rPr lang="en-US" sz="1200">
                <a:latin typeface="Arial" panose="020B0604020202020204" pitchFamily="34" charset="0"/>
                <a:ea typeface="Calibri" panose="020F0502020204030204" pitchFamily="34" charset="0"/>
                <a:cs typeface="Arial" panose="020B0604020202020204" pitchFamily="34" charset="0"/>
              </a:rPr>
              <a:t>, </a:t>
            </a:r>
            <a:r>
              <a:rPr lang="en-US" sz="1200" b="0" i="0" noProof="0">
                <a:effectLst/>
                <a:latin typeface="Arial" panose="020B0604020202020204" pitchFamily="34" charset="0"/>
                <a:ea typeface="Calibri" panose="020F0502020204030204" pitchFamily="34" charset="0"/>
                <a:cs typeface="Arial" panose="020B0604020202020204" pitchFamily="34" charset="0"/>
              </a:rPr>
              <a:t>100 S Commons</a:t>
            </a:r>
          </a:p>
        </p:txBody>
      </p:sp>
      <p:pic>
        <p:nvPicPr>
          <p:cNvPr id="10" name="Picture 9" descr="A map of cities with white text&#10;&#10;Description automatically generated">
            <a:extLst>
              <a:ext uri="{FF2B5EF4-FFF2-40B4-BE49-F238E27FC236}">
                <a16:creationId xmlns:a16="http://schemas.microsoft.com/office/drawing/2014/main" id="{B12633E5-407D-910D-C9FC-A314581A7BC8}"/>
              </a:ext>
            </a:extLst>
          </p:cNvPr>
          <p:cNvPicPr>
            <a:picLocks noChangeAspect="1"/>
          </p:cNvPicPr>
          <p:nvPr/>
        </p:nvPicPr>
        <p:blipFill>
          <a:blip r:embed="rId3">
            <a:extLst>
              <a:ext uri="{28A0092B-C50C-407E-A947-70E740481C1C}">
                <a14:useLocalDpi xmlns:a14="http://schemas.microsoft.com/office/drawing/2010/main" val="0"/>
              </a:ext>
            </a:extLst>
          </a:blip>
          <a:srcRect r="15943"/>
          <a:stretch/>
        </p:blipFill>
        <p:spPr>
          <a:xfrm>
            <a:off x="516365" y="3491345"/>
            <a:ext cx="6261811" cy="2909067"/>
          </a:xfrm>
          <a:prstGeom prst="rect">
            <a:avLst/>
          </a:prstGeom>
        </p:spPr>
      </p:pic>
      <mc:AlternateContent xmlns:mc="http://schemas.openxmlformats.org/markup-compatibility/2006" xmlns:p14="http://schemas.microsoft.com/office/powerpoint/2010/main">
        <mc:Choice Requires="p14">
          <p:contentPart p14:bwMode="auto" r:id="rId4">
            <p14:nvContentPartPr>
              <p14:cNvPr id="11" name="Ink 10">
                <a:extLst>
                  <a:ext uri="{FF2B5EF4-FFF2-40B4-BE49-F238E27FC236}">
                    <a16:creationId xmlns:a16="http://schemas.microsoft.com/office/drawing/2014/main" id="{E3F79E6D-8BC1-B067-C1CE-BABCC753575B}"/>
                  </a:ext>
                </a:extLst>
              </p14:cNvPr>
              <p14:cNvContentPartPr/>
              <p14:nvPr/>
            </p14:nvContentPartPr>
            <p14:xfrm>
              <a:off x="3367401" y="4626543"/>
              <a:ext cx="438840" cy="280800"/>
            </p14:xfrm>
          </p:contentPart>
        </mc:Choice>
        <mc:Fallback xmlns="">
          <p:pic>
            <p:nvPicPr>
              <p:cNvPr id="11" name="Ink 10">
                <a:extLst>
                  <a:ext uri="{FF2B5EF4-FFF2-40B4-BE49-F238E27FC236}">
                    <a16:creationId xmlns:a16="http://schemas.microsoft.com/office/drawing/2014/main" id="{E3F79E6D-8BC1-B067-C1CE-BABCC753575B}"/>
                  </a:ext>
                </a:extLst>
              </p:cNvPr>
              <p:cNvPicPr/>
              <p:nvPr/>
            </p:nvPicPr>
            <p:blipFill>
              <a:blip r:embed="rId5"/>
              <a:stretch>
                <a:fillRect/>
              </a:stretch>
            </p:blipFill>
            <p:spPr>
              <a:xfrm>
                <a:off x="3313401" y="4518543"/>
                <a:ext cx="546480" cy="4964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 name="Ink 11">
                <a:extLst>
                  <a:ext uri="{FF2B5EF4-FFF2-40B4-BE49-F238E27FC236}">
                    <a16:creationId xmlns:a16="http://schemas.microsoft.com/office/drawing/2014/main" id="{6B01158E-5DB6-0BCC-CB8C-1840B0BD19A9}"/>
                  </a:ext>
                </a:extLst>
              </p14:cNvPr>
              <p14:cNvContentPartPr/>
              <p14:nvPr/>
            </p14:nvContentPartPr>
            <p14:xfrm>
              <a:off x="5603789" y="5886504"/>
              <a:ext cx="28080" cy="12240"/>
            </p14:xfrm>
          </p:contentPart>
        </mc:Choice>
        <mc:Fallback xmlns="">
          <p:pic>
            <p:nvPicPr>
              <p:cNvPr id="12" name="Ink 11">
                <a:extLst>
                  <a:ext uri="{FF2B5EF4-FFF2-40B4-BE49-F238E27FC236}">
                    <a16:creationId xmlns:a16="http://schemas.microsoft.com/office/drawing/2014/main" id="{6B01158E-5DB6-0BCC-CB8C-1840B0BD19A9}"/>
                  </a:ext>
                </a:extLst>
              </p:cNvPr>
              <p:cNvPicPr/>
              <p:nvPr/>
            </p:nvPicPr>
            <p:blipFill>
              <a:blip r:embed="rId7"/>
              <a:stretch>
                <a:fillRect/>
              </a:stretch>
            </p:blipFill>
            <p:spPr>
              <a:xfrm>
                <a:off x="5549789" y="5775231"/>
                <a:ext cx="135720" cy="234415"/>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3" name="Ink 12">
                <a:extLst>
                  <a:ext uri="{FF2B5EF4-FFF2-40B4-BE49-F238E27FC236}">
                    <a16:creationId xmlns:a16="http://schemas.microsoft.com/office/drawing/2014/main" id="{297F04CB-9AA8-6E9C-BB12-41D17DE302F1}"/>
                  </a:ext>
                </a:extLst>
              </p14:cNvPr>
              <p14:cNvContentPartPr/>
              <p14:nvPr/>
            </p14:nvContentPartPr>
            <p14:xfrm>
              <a:off x="3823585" y="5578731"/>
              <a:ext cx="360" cy="360"/>
            </p14:xfrm>
          </p:contentPart>
        </mc:Choice>
        <mc:Fallback xmlns="">
          <p:pic>
            <p:nvPicPr>
              <p:cNvPr id="13" name="Ink 12">
                <a:extLst>
                  <a:ext uri="{FF2B5EF4-FFF2-40B4-BE49-F238E27FC236}">
                    <a16:creationId xmlns:a16="http://schemas.microsoft.com/office/drawing/2014/main" id="{297F04CB-9AA8-6E9C-BB12-41D17DE302F1}"/>
                  </a:ext>
                </a:extLst>
              </p:cNvPr>
              <p:cNvPicPr/>
              <p:nvPr/>
            </p:nvPicPr>
            <p:blipFill>
              <a:blip r:embed="rId9"/>
              <a:stretch>
                <a:fillRect/>
              </a:stretch>
            </p:blipFill>
            <p:spPr>
              <a:xfrm>
                <a:off x="3769585" y="5470731"/>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4" name="Ink 13">
                <a:extLst>
                  <a:ext uri="{FF2B5EF4-FFF2-40B4-BE49-F238E27FC236}">
                    <a16:creationId xmlns:a16="http://schemas.microsoft.com/office/drawing/2014/main" id="{1599A620-459A-97A4-E72A-24B8AAE8C15B}"/>
                  </a:ext>
                </a:extLst>
              </p14:cNvPr>
              <p14:cNvContentPartPr/>
              <p14:nvPr/>
            </p14:nvContentPartPr>
            <p14:xfrm>
              <a:off x="4812865" y="4731291"/>
              <a:ext cx="360" cy="360"/>
            </p14:xfrm>
          </p:contentPart>
        </mc:Choice>
        <mc:Fallback xmlns="">
          <p:pic>
            <p:nvPicPr>
              <p:cNvPr id="14" name="Ink 13">
                <a:extLst>
                  <a:ext uri="{FF2B5EF4-FFF2-40B4-BE49-F238E27FC236}">
                    <a16:creationId xmlns:a16="http://schemas.microsoft.com/office/drawing/2014/main" id="{1599A620-459A-97A4-E72A-24B8AAE8C15B}"/>
                  </a:ext>
                </a:extLst>
              </p:cNvPr>
              <p:cNvPicPr/>
              <p:nvPr/>
            </p:nvPicPr>
            <p:blipFill>
              <a:blip r:embed="rId9"/>
              <a:stretch>
                <a:fillRect/>
              </a:stretch>
            </p:blipFill>
            <p:spPr>
              <a:xfrm>
                <a:off x="4758865" y="4623291"/>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23B1CBD1-AAF0-1DC9-75A4-1C2B574A2562}"/>
                  </a:ext>
                </a:extLst>
              </p14:cNvPr>
              <p14:cNvContentPartPr/>
              <p14:nvPr/>
            </p14:nvContentPartPr>
            <p14:xfrm>
              <a:off x="1972105" y="4739211"/>
              <a:ext cx="360" cy="360"/>
            </p14:xfrm>
          </p:contentPart>
        </mc:Choice>
        <mc:Fallback xmlns="">
          <p:pic>
            <p:nvPicPr>
              <p:cNvPr id="15" name="Ink 14">
                <a:extLst>
                  <a:ext uri="{FF2B5EF4-FFF2-40B4-BE49-F238E27FC236}">
                    <a16:creationId xmlns:a16="http://schemas.microsoft.com/office/drawing/2014/main" id="{23B1CBD1-AAF0-1DC9-75A4-1C2B574A2562}"/>
                  </a:ext>
                </a:extLst>
              </p:cNvPr>
              <p:cNvPicPr/>
              <p:nvPr/>
            </p:nvPicPr>
            <p:blipFill>
              <a:blip r:embed="rId9"/>
              <a:stretch>
                <a:fillRect/>
              </a:stretch>
            </p:blipFill>
            <p:spPr>
              <a:xfrm>
                <a:off x="1918105" y="4631211"/>
                <a:ext cx="108000" cy="216000"/>
              </a:xfrm>
              <a:prstGeom prst="rect">
                <a:avLst/>
              </a:prstGeom>
            </p:spPr>
          </p:pic>
        </mc:Fallback>
      </mc:AlternateContent>
      <p:pic>
        <p:nvPicPr>
          <p:cNvPr id="16" name="Picture 15" descr="A map of a city&#10;&#10;Description automatically generated">
            <a:extLst>
              <a:ext uri="{FF2B5EF4-FFF2-40B4-BE49-F238E27FC236}">
                <a16:creationId xmlns:a16="http://schemas.microsoft.com/office/drawing/2014/main" id="{7867F9CB-6927-2C9B-4047-C2EA4E65CCB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66377" y="3673075"/>
            <a:ext cx="4899223" cy="2468535"/>
          </a:xfrm>
          <a:prstGeom prst="rect">
            <a:avLst/>
          </a:prstGeom>
        </p:spPr>
      </p:pic>
      <p:pic>
        <p:nvPicPr>
          <p:cNvPr id="4" name="Picture 3" descr="A close-up of blue text&#10;&#10;AI-generated content may be incorrect.">
            <a:extLst>
              <a:ext uri="{FF2B5EF4-FFF2-40B4-BE49-F238E27FC236}">
                <a16:creationId xmlns:a16="http://schemas.microsoft.com/office/drawing/2014/main" id="{A51F8D4A-550A-36A1-1E66-51A0C01C21E7}"/>
              </a:ext>
            </a:extLst>
          </p:cNvPr>
          <p:cNvPicPr>
            <a:picLocks noChangeAspect="1"/>
          </p:cNvPicPr>
          <p:nvPr/>
        </p:nvPicPr>
        <p:blipFill>
          <a:blip r:embed="rId13"/>
          <a:stretch>
            <a:fillRect/>
          </a:stretch>
        </p:blipFill>
        <p:spPr>
          <a:xfrm>
            <a:off x="7801586" y="5979638"/>
            <a:ext cx="4666600" cy="1120163"/>
          </a:xfrm>
          <a:prstGeom prst="rect">
            <a:avLst/>
          </a:prstGeom>
        </p:spPr>
      </p:pic>
      <p:sp>
        <p:nvSpPr>
          <p:cNvPr id="8" name="Slide Number Placeholder 23">
            <a:extLst>
              <a:ext uri="{FF2B5EF4-FFF2-40B4-BE49-F238E27FC236}">
                <a16:creationId xmlns:a16="http://schemas.microsoft.com/office/drawing/2014/main" id="{89B6F2C4-F5ED-B15D-ECD6-B255A1AF86C0}"/>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6</a:t>
            </a:fld>
            <a:endParaRPr lang="en-US" b="1" noProof="0">
              <a:solidFill>
                <a:schemeClr val="accent1"/>
              </a:solidFill>
              <a:latin typeface="Arial" panose="020B0604020202020204" pitchFamily="34" charset="0"/>
              <a:cs typeface="Arial" panose="020B0604020202020204" pitchFamily="34" charset="0"/>
            </a:endParaRPr>
          </a:p>
        </p:txBody>
      </p:sp>
      <p:sp>
        <p:nvSpPr>
          <p:cNvPr id="3" name="Text Placeholder 1">
            <a:extLst>
              <a:ext uri="{FF2B5EF4-FFF2-40B4-BE49-F238E27FC236}">
                <a16:creationId xmlns:a16="http://schemas.microsoft.com/office/drawing/2014/main" id="{8B4188D5-A72A-C548-D27E-804232E35100}"/>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Current Deployment and Performance Benchmark: Fiber Services in Pittsburgh</a:t>
            </a:r>
          </a:p>
        </p:txBody>
      </p:sp>
    </p:spTree>
    <p:extLst>
      <p:ext uri="{BB962C8B-B14F-4D97-AF65-F5344CB8AC3E}">
        <p14:creationId xmlns:p14="http://schemas.microsoft.com/office/powerpoint/2010/main" val="2393856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5D934A52-665E-08E1-CD39-9A8C877220AD}"/>
              </a:ext>
            </a:extLst>
          </p:cNvPr>
          <p:cNvGraphicFramePr>
            <a:graphicFrameLocks noGrp="1"/>
          </p:cNvGraphicFramePr>
          <p:nvPr>
            <p:extLst>
              <p:ext uri="{D42A27DB-BD31-4B8C-83A1-F6EECF244321}">
                <p14:modId xmlns:p14="http://schemas.microsoft.com/office/powerpoint/2010/main" val="4072064744"/>
              </p:ext>
            </p:extLst>
          </p:nvPr>
        </p:nvGraphicFramePr>
        <p:xfrm>
          <a:off x="509551" y="902368"/>
          <a:ext cx="11447451" cy="3639992"/>
        </p:xfrm>
        <a:graphic>
          <a:graphicData uri="http://schemas.openxmlformats.org/drawingml/2006/table">
            <a:tbl>
              <a:tblPr>
                <a:tableStyleId>{8A107856-5554-42FB-B03E-39F5DBC370BA}</a:tableStyleId>
              </a:tblPr>
              <a:tblGrid>
                <a:gridCol w="1577406">
                  <a:extLst>
                    <a:ext uri="{9D8B030D-6E8A-4147-A177-3AD203B41FA5}">
                      <a16:colId xmlns:a16="http://schemas.microsoft.com/office/drawing/2014/main" val="983138257"/>
                    </a:ext>
                  </a:extLst>
                </a:gridCol>
                <a:gridCol w="1111694">
                  <a:extLst>
                    <a:ext uri="{9D8B030D-6E8A-4147-A177-3AD203B41FA5}">
                      <a16:colId xmlns:a16="http://schemas.microsoft.com/office/drawing/2014/main" val="2662249106"/>
                    </a:ext>
                  </a:extLst>
                </a:gridCol>
                <a:gridCol w="2884398">
                  <a:extLst>
                    <a:ext uri="{9D8B030D-6E8A-4147-A177-3AD203B41FA5}">
                      <a16:colId xmlns:a16="http://schemas.microsoft.com/office/drawing/2014/main" val="4074525304"/>
                    </a:ext>
                  </a:extLst>
                </a:gridCol>
                <a:gridCol w="3012091">
                  <a:extLst>
                    <a:ext uri="{9D8B030D-6E8A-4147-A177-3AD203B41FA5}">
                      <a16:colId xmlns:a16="http://schemas.microsoft.com/office/drawing/2014/main" val="451859701"/>
                    </a:ext>
                  </a:extLst>
                </a:gridCol>
                <a:gridCol w="2861862">
                  <a:extLst>
                    <a:ext uri="{9D8B030D-6E8A-4147-A177-3AD203B41FA5}">
                      <a16:colId xmlns:a16="http://schemas.microsoft.com/office/drawing/2014/main" val="2950651822"/>
                    </a:ext>
                  </a:extLst>
                </a:gridCol>
              </a:tblGrid>
              <a:tr h="202635">
                <a:tc>
                  <a:txBody>
                    <a:bodyPr/>
                    <a:lstStyle/>
                    <a:p>
                      <a:pPr algn="ctr"/>
                      <a:r>
                        <a:rPr lang="en-US" sz="1400" b="1" noProof="0">
                          <a:solidFill>
                            <a:schemeClr val="bg1"/>
                          </a:solidFill>
                          <a:latin typeface="Arial" panose="020B0604020202020204" pitchFamily="34" charset="0"/>
                          <a:cs typeface="Arial" panose="020B0604020202020204" pitchFamily="34" charset="0"/>
                        </a:rPr>
                        <a:t>Site Name</a:t>
                      </a:r>
                      <a:endParaRPr lang="en-US" sz="1400" noProof="0">
                        <a:solidFill>
                          <a:schemeClr val="bg1"/>
                        </a:solidFill>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400" b="1" noProof="0">
                          <a:solidFill>
                            <a:schemeClr val="bg1"/>
                          </a:solidFill>
                          <a:latin typeface="Arial" panose="020B0604020202020204" pitchFamily="34" charset="0"/>
                          <a:cs typeface="Arial" panose="020B0604020202020204" pitchFamily="34" charset="0"/>
                        </a:rPr>
                        <a:t>County</a:t>
                      </a:r>
                      <a:endParaRPr lang="en-US" sz="1400" noProof="0">
                        <a:solidFill>
                          <a:schemeClr val="bg1"/>
                        </a:solidFill>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400" b="1" noProof="0">
                          <a:solidFill>
                            <a:schemeClr val="bg1"/>
                          </a:solidFill>
                          <a:latin typeface="Arial" panose="020B0604020202020204" pitchFamily="34" charset="0"/>
                          <a:cs typeface="Arial" panose="020B0604020202020204" pitchFamily="34" charset="0"/>
                        </a:rPr>
                        <a:t>Current Status</a:t>
                      </a:r>
                      <a:endParaRPr lang="en-US" sz="1400" noProof="0">
                        <a:solidFill>
                          <a:schemeClr val="bg1"/>
                        </a:solidFill>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400" b="1" noProof="0">
                          <a:solidFill>
                            <a:schemeClr val="bg1"/>
                          </a:solidFill>
                          <a:latin typeface="Arial" panose="020B0604020202020204" pitchFamily="34" charset="0"/>
                          <a:cs typeface="Arial" panose="020B0604020202020204" pitchFamily="34" charset="0"/>
                        </a:rPr>
                        <a:t>Site Features</a:t>
                      </a:r>
                      <a:endParaRPr lang="en-US" sz="1400" noProof="0">
                        <a:solidFill>
                          <a:schemeClr val="bg1"/>
                        </a:solidFill>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400" b="1" noProof="0">
                          <a:solidFill>
                            <a:schemeClr val="bg1"/>
                          </a:solidFill>
                          <a:latin typeface="Arial" panose="020B0604020202020204" pitchFamily="34" charset="0"/>
                          <a:cs typeface="Arial" panose="020B0604020202020204" pitchFamily="34" charset="0"/>
                        </a:rPr>
                        <a:t>Peoples Gas Opportunity</a:t>
                      </a:r>
                      <a:endParaRPr lang="en-US" sz="1400" noProof="0">
                        <a:solidFill>
                          <a:schemeClr val="bg1"/>
                        </a:solidFill>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752996107"/>
                  </a:ext>
                </a:extLst>
              </a:tr>
              <a:tr h="439844">
                <a:tc>
                  <a:txBody>
                    <a:bodyPr/>
                    <a:lstStyle/>
                    <a:p>
                      <a:r>
                        <a:rPr lang="en-US" sz="1150" b="1" noProof="0">
                          <a:latin typeface="Arial" panose="020B0604020202020204" pitchFamily="34" charset="0"/>
                          <a:cs typeface="Arial" panose="020B0604020202020204" pitchFamily="34" charset="0"/>
                        </a:rPr>
                        <a:t>Mitchell Power Station</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50" noProof="0">
                          <a:latin typeface="Arial" panose="020B0604020202020204" pitchFamily="34" charset="0"/>
                          <a:cs typeface="Arial" panose="020B0604020202020204" pitchFamily="34" charset="0"/>
                        </a:rPr>
                        <a:t>Washington</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b="0" noProof="0">
                          <a:latin typeface="Arial" panose="020B0604020202020204" pitchFamily="34" charset="0"/>
                          <a:cs typeface="Arial" panose="020B0604020202020204" pitchFamily="34" charset="0"/>
                        </a:rPr>
                        <a:t>Planned redevelopment </a:t>
                      </a:r>
                      <a:r>
                        <a:rPr lang="en-US" sz="1150" noProof="0">
                          <a:latin typeface="Arial" panose="020B0604020202020204" pitchFamily="34" charset="0"/>
                          <a:cs typeface="Arial" panose="020B0604020202020204" pitchFamily="34" charset="0"/>
                        </a:rPr>
                        <a:t>under DCED &amp; POWER program; shovel-ready lite status possible</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856 acres, river/barge access, Mariner East pipelines, West Penn substation, rail, PA TPK 43 frontage</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Direct Peoples pipeline access; ideal for pilot data center + gas co-gen campus</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44094172"/>
                  </a:ext>
                </a:extLst>
              </a:tr>
              <a:tr h="405749">
                <a:tc>
                  <a:txBody>
                    <a:bodyPr/>
                    <a:lstStyle/>
                    <a:p>
                      <a:r>
                        <a:rPr lang="en-US" sz="1150" b="1" noProof="0">
                          <a:latin typeface="Arial" panose="020B0604020202020204" pitchFamily="34" charset="0"/>
                          <a:cs typeface="Arial" panose="020B0604020202020204" pitchFamily="34" charset="0"/>
                        </a:rPr>
                        <a:t>Homer City Station</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150" noProof="0">
                          <a:latin typeface="Arial" panose="020B0604020202020204" pitchFamily="34" charset="0"/>
                          <a:cs typeface="Arial" panose="020B0604020202020204" pitchFamily="34" charset="0"/>
                        </a:rPr>
                        <a:t>Indiana</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Decommissioned 2023; redevelopment interest but no active buildout underwa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2,000+ acres, 345kV grid tie-in, gas corridor, road access</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Flagship site with massive power potential; Peoples can partner for co-gen deployment</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1689760317"/>
                  </a:ext>
                </a:extLst>
              </a:tr>
              <a:tr h="302512">
                <a:tc>
                  <a:txBody>
                    <a:bodyPr/>
                    <a:lstStyle/>
                    <a:p>
                      <a:r>
                        <a:rPr lang="en-US" sz="1150" b="1" noProof="0">
                          <a:latin typeface="Arial" panose="020B0604020202020204" pitchFamily="34" charset="0"/>
                          <a:cs typeface="Arial" panose="020B0604020202020204" pitchFamily="34" charset="0"/>
                        </a:rPr>
                        <a:t>Bruce Mansfield</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50" noProof="0">
                          <a:latin typeface="Arial" panose="020B0604020202020204" pitchFamily="34" charset="0"/>
                          <a:cs typeface="Arial" panose="020B0604020202020204" pitchFamily="34" charset="0"/>
                        </a:rPr>
                        <a:t>Beaver</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Decommissioned 2019; early-stage reuse concepts ongoing, not fully committed</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River access, transmission tie-in, near Shell cracker and fiber corridors</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Potential cooling + logistics hub; leverage proximity to Beaver’s industrial base</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19673689"/>
                  </a:ext>
                </a:extLst>
              </a:tr>
              <a:tr h="405749">
                <a:tc>
                  <a:txBody>
                    <a:bodyPr/>
                    <a:lstStyle/>
                    <a:p>
                      <a:r>
                        <a:rPr lang="en-US" sz="1150" b="1" noProof="0">
                          <a:latin typeface="Arial" panose="020B0604020202020204" pitchFamily="34" charset="0"/>
                          <a:cs typeface="Arial" panose="020B0604020202020204" pitchFamily="34" charset="0"/>
                        </a:rPr>
                        <a:t>Elrama Station</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150" noProof="0">
                          <a:latin typeface="Arial" panose="020B0604020202020204" pitchFamily="34" charset="0"/>
                          <a:cs typeface="Arial" panose="020B0604020202020204" pitchFamily="34" charset="0"/>
                        </a:rPr>
                        <a:t>Washington</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Demolished; limited reuse activity; brownfield, small-scale</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Monongahela riverfront, low-density area, access to Peoples infrastructure nearb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Edge data center zone with Natural gas microturbine or backup generation potential</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3806508594"/>
                  </a:ext>
                </a:extLst>
              </a:tr>
              <a:tr h="405749">
                <a:tc>
                  <a:txBody>
                    <a:bodyPr/>
                    <a:lstStyle/>
                    <a:p>
                      <a:r>
                        <a:rPr lang="en-US" sz="1150" b="1" noProof="0">
                          <a:latin typeface="Arial" panose="020B0604020202020204" pitchFamily="34" charset="0"/>
                          <a:cs typeface="Arial" panose="020B0604020202020204" pitchFamily="34" charset="0"/>
                        </a:rPr>
                        <a:t>Armstrong Station</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50" noProof="0">
                          <a:latin typeface="Arial" panose="020B0604020202020204" pitchFamily="34" charset="0"/>
                          <a:cs typeface="Arial" panose="020B0604020202020204" pitchFamily="34" charset="0"/>
                        </a:rPr>
                        <a:t>Armstrong</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Decommissioned; site under Dominion ownership; no active development confirmed</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205 MW site, flat terrain, regional grid tie-in potential</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Longer-runway site; Peoples could engage for industrial gas and incentives packaging</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82560628"/>
                  </a:ext>
                </a:extLst>
              </a:tr>
              <a:tr h="302512">
                <a:tc>
                  <a:txBody>
                    <a:bodyPr/>
                    <a:lstStyle/>
                    <a:p>
                      <a:r>
                        <a:rPr lang="en-US" sz="1150" b="1" noProof="0">
                          <a:latin typeface="Arial" panose="020B0604020202020204" pitchFamily="34" charset="0"/>
                          <a:cs typeface="Arial" panose="020B0604020202020204" pitchFamily="34" charset="0"/>
                        </a:rPr>
                        <a:t>Cheswick Generating</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pPr algn="ctr"/>
                      <a:r>
                        <a:rPr lang="en-US" sz="1150" noProof="0">
                          <a:latin typeface="Arial" panose="020B0604020202020204" pitchFamily="34" charset="0"/>
                          <a:cs typeface="Arial" panose="020B0604020202020204" pitchFamily="34" charset="0"/>
                        </a:rPr>
                        <a:t>Alleghen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Decommissioned 2022; demolition underwa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Rail, river, highway access; urban-adjacent site with redevelopment potential</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tc>
                  <a:txBody>
                    <a:bodyPr/>
                    <a:lstStyle/>
                    <a:p>
                      <a:r>
                        <a:rPr lang="en-US" sz="1150" noProof="0">
                          <a:latin typeface="Arial" panose="020B0604020202020204" pitchFamily="34" charset="0"/>
                          <a:cs typeface="Arial" panose="020B0604020202020204" pitchFamily="34" charset="0"/>
                        </a:rPr>
                        <a:t>Urban-edge colocation site; Peoples could provide dual-fuel co-gen backup</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7F7F7"/>
                    </a:solidFill>
                  </a:tcPr>
                </a:tc>
                <a:extLst>
                  <a:ext uri="{0D108BD9-81ED-4DB2-BD59-A6C34878D82A}">
                    <a16:rowId xmlns:a16="http://schemas.microsoft.com/office/drawing/2014/main" val="3212857814"/>
                  </a:ext>
                </a:extLst>
              </a:tr>
              <a:tr h="302512">
                <a:tc>
                  <a:txBody>
                    <a:bodyPr/>
                    <a:lstStyle/>
                    <a:p>
                      <a:r>
                        <a:rPr lang="en-US" sz="1150" b="1" noProof="0">
                          <a:latin typeface="Arial" panose="020B0604020202020204" pitchFamily="34" charset="0"/>
                          <a:cs typeface="Arial" panose="020B0604020202020204" pitchFamily="34" charset="0"/>
                        </a:rPr>
                        <a:t>Titus Station</a:t>
                      </a:r>
                      <a:endParaRPr lang="en-US" sz="1150" noProof="0">
                        <a:latin typeface="Arial" panose="020B0604020202020204" pitchFamily="34" charset="0"/>
                        <a:cs typeface="Arial" panose="020B0604020202020204" pitchFamily="34" charset="0"/>
                      </a:endParaRP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150" noProof="0">
                          <a:latin typeface="Arial" panose="020B0604020202020204" pitchFamily="34" charset="0"/>
                          <a:cs typeface="Arial" panose="020B0604020202020204" pitchFamily="34" charset="0"/>
                        </a:rPr>
                        <a:t>Berks</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Decommissioned; limited reuse activity noted</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Smaller SE PA location; some transmission and utility connectivit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50" noProof="0">
                          <a:latin typeface="Arial" panose="020B0604020202020204" pitchFamily="34" charset="0"/>
                          <a:cs typeface="Arial" panose="020B0604020202020204" pitchFamily="34" charset="0"/>
                        </a:rPr>
                        <a:t>Limited strategic fit, but viable as backup/data edge facility</a:t>
                      </a:r>
                    </a:p>
                  </a:txBody>
                  <a:tcPr marL="33995" marR="33995" marT="16997" marB="1699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6650302"/>
                  </a:ext>
                </a:extLst>
              </a:tr>
            </a:tbl>
          </a:graphicData>
        </a:graphic>
      </p:graphicFrame>
      <p:sp>
        <p:nvSpPr>
          <p:cNvPr id="4" name="Slide Number Placeholder 23">
            <a:extLst>
              <a:ext uri="{FF2B5EF4-FFF2-40B4-BE49-F238E27FC236}">
                <a16:creationId xmlns:a16="http://schemas.microsoft.com/office/drawing/2014/main" id="{6B927F50-1460-D5A3-C1E1-E506EB0CC5E5}"/>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7</a:t>
            </a:fld>
            <a:endParaRPr lang="en-US" b="1" noProof="0">
              <a:solidFill>
                <a:schemeClr val="accent1"/>
              </a:solidFill>
              <a:latin typeface="Arial" panose="020B0604020202020204" pitchFamily="34" charset="0"/>
              <a:cs typeface="Arial" panose="020B0604020202020204" pitchFamily="34" charset="0"/>
            </a:endParaRPr>
          </a:p>
        </p:txBody>
      </p:sp>
      <p:sp>
        <p:nvSpPr>
          <p:cNvPr id="6" name="Text Placeholder 1">
            <a:extLst>
              <a:ext uri="{FF2B5EF4-FFF2-40B4-BE49-F238E27FC236}">
                <a16:creationId xmlns:a16="http://schemas.microsoft.com/office/drawing/2014/main" id="{D30FCE85-7638-9D7B-21AC-1AB59C4AD95D}"/>
              </a:ext>
            </a:extLst>
          </p:cNvPr>
          <p:cNvSpPr txBox="1">
            <a:spLocks/>
          </p:cNvSpPr>
          <p:nvPr/>
        </p:nvSpPr>
        <p:spPr>
          <a:xfrm>
            <a:off x="480878" y="193027"/>
            <a:ext cx="11165690"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rPr>
              <a:t>Coal Sites: Targets for Data Center Redevelopment</a:t>
            </a:r>
          </a:p>
        </p:txBody>
      </p:sp>
      <p:sp>
        <p:nvSpPr>
          <p:cNvPr id="11" name="Rectangle 10">
            <a:extLst>
              <a:ext uri="{FF2B5EF4-FFF2-40B4-BE49-F238E27FC236}">
                <a16:creationId xmlns:a16="http://schemas.microsoft.com/office/drawing/2014/main" id="{1BE36E72-6C85-C1B5-EDC3-57195876824B}"/>
              </a:ext>
            </a:extLst>
          </p:cNvPr>
          <p:cNvSpPr/>
          <p:nvPr/>
        </p:nvSpPr>
        <p:spPr>
          <a:xfrm>
            <a:off x="509551" y="4618229"/>
            <a:ext cx="11447450" cy="155207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noProof="0">
                <a:solidFill>
                  <a:schemeClr val="accent1"/>
                </a:solidFill>
                <a:latin typeface="Arial"/>
                <a:cs typeface="Arial"/>
              </a:rPr>
              <a:t>Key Takeaways for Peoples Gas: </a:t>
            </a:r>
          </a:p>
          <a:p>
            <a:pPr marL="228600" indent="-228600">
              <a:buFont typeface="+mj-lt"/>
              <a:buAutoNum type="arabicPeriod"/>
            </a:pPr>
            <a:r>
              <a:rPr lang="en-US" sz="1200" b="1" noProof="0">
                <a:solidFill>
                  <a:schemeClr val="accent1"/>
                </a:solidFill>
                <a:latin typeface="Arial"/>
                <a:cs typeface="Arial"/>
              </a:rPr>
              <a:t>Mitchell</a:t>
            </a:r>
            <a:r>
              <a:rPr lang="en-US" sz="1200" noProof="0">
                <a:solidFill>
                  <a:schemeClr val="accent1"/>
                </a:solidFill>
                <a:latin typeface="Arial"/>
                <a:cs typeface="Arial"/>
              </a:rPr>
              <a:t> and </a:t>
            </a:r>
            <a:r>
              <a:rPr lang="en-US" sz="1200" b="1" noProof="0">
                <a:solidFill>
                  <a:schemeClr val="accent1"/>
                </a:solidFill>
                <a:latin typeface="Arial"/>
                <a:cs typeface="Arial"/>
              </a:rPr>
              <a:t>Homer City </a:t>
            </a:r>
            <a:r>
              <a:rPr lang="en-US" sz="1200" noProof="0">
                <a:solidFill>
                  <a:schemeClr val="accent1"/>
                </a:solidFill>
                <a:latin typeface="Arial"/>
                <a:cs typeface="Arial"/>
              </a:rPr>
              <a:t>are top-tier opportunities for redevelopment (size, grid tie-ins, and gas infrastructure)</a:t>
            </a:r>
            <a:r>
              <a:rPr lang="en-US" sz="1200">
                <a:solidFill>
                  <a:schemeClr val="accent1"/>
                </a:solidFill>
                <a:latin typeface="Arial"/>
                <a:cs typeface="Arial"/>
              </a:rPr>
              <a:t>;</a:t>
            </a:r>
            <a:r>
              <a:rPr lang="en-US" sz="1200" noProof="0">
                <a:solidFill>
                  <a:schemeClr val="accent1"/>
                </a:solidFill>
                <a:latin typeface="Arial"/>
                <a:cs typeface="Arial"/>
              </a:rPr>
              <a:t> Peoples should lead co-development discussions</a:t>
            </a:r>
            <a:endParaRPr lang="en-US" sz="1200" b="1" noProof="0">
              <a:solidFill>
                <a:schemeClr val="accent1"/>
              </a:solidFill>
              <a:latin typeface="Arial"/>
              <a:cs typeface="Arial"/>
            </a:endParaRPr>
          </a:p>
          <a:p>
            <a:pPr marL="685800" lvl="1" indent="-228600">
              <a:buFont typeface="+mj-lt"/>
              <a:buAutoNum type="arabicPeriod"/>
            </a:pPr>
            <a:r>
              <a:rPr lang="en-US" sz="1200" noProof="0">
                <a:solidFill>
                  <a:schemeClr val="accent1"/>
                </a:solidFill>
                <a:latin typeface="Arial"/>
                <a:cs typeface="Arial"/>
              </a:rPr>
              <a:t>Mitchell has a full redevelopment playbook backed by DCED.</a:t>
            </a:r>
          </a:p>
          <a:p>
            <a:pPr marL="685800" lvl="1" indent="-228600">
              <a:buFont typeface="+mj-lt"/>
              <a:buAutoNum type="arabicPeriod"/>
            </a:pPr>
            <a:r>
              <a:rPr lang="en-US" sz="1200" noProof="0">
                <a:solidFill>
                  <a:schemeClr val="accent1"/>
                </a:solidFill>
                <a:latin typeface="Arial"/>
                <a:cs typeface="Arial"/>
              </a:rPr>
              <a:t>Use Mitchell as a proof-of-concept campus for clean energy-powered digital infrastructure.</a:t>
            </a:r>
          </a:p>
          <a:p>
            <a:pPr marL="228600" indent="-228600">
              <a:buFont typeface="+mj-lt"/>
              <a:buAutoNum type="arabicPeriod"/>
            </a:pPr>
            <a:r>
              <a:rPr lang="en-US" sz="1200" noProof="0">
                <a:solidFill>
                  <a:schemeClr val="accent1"/>
                </a:solidFill>
                <a:latin typeface="Arial"/>
                <a:cs typeface="Arial"/>
              </a:rPr>
              <a:t>Sites like </a:t>
            </a:r>
            <a:r>
              <a:rPr lang="en-US" sz="1200" b="1" noProof="0" err="1">
                <a:solidFill>
                  <a:schemeClr val="accent1"/>
                </a:solidFill>
                <a:latin typeface="Arial"/>
                <a:cs typeface="Arial"/>
              </a:rPr>
              <a:t>Elrama</a:t>
            </a:r>
            <a:r>
              <a:rPr lang="en-US" sz="1200" noProof="0">
                <a:solidFill>
                  <a:schemeClr val="accent1"/>
                </a:solidFill>
                <a:latin typeface="Arial"/>
                <a:cs typeface="Arial"/>
              </a:rPr>
              <a:t> and </a:t>
            </a:r>
            <a:r>
              <a:rPr lang="en-US" sz="1200" b="1" noProof="0">
                <a:solidFill>
                  <a:schemeClr val="accent1"/>
                </a:solidFill>
                <a:latin typeface="Arial"/>
                <a:cs typeface="Arial"/>
              </a:rPr>
              <a:t>Cheswick</a:t>
            </a:r>
            <a:r>
              <a:rPr lang="en-US" sz="1200" noProof="0">
                <a:solidFill>
                  <a:schemeClr val="accent1"/>
                </a:solidFill>
                <a:latin typeface="Arial"/>
                <a:cs typeface="Arial"/>
              </a:rPr>
              <a:t> are ideal for smaller edge or disaster-resilient data centers, especially when paired with gas-powered microturbines.</a:t>
            </a:r>
          </a:p>
          <a:p>
            <a:pPr marL="228600" indent="-228600">
              <a:buFont typeface="+mj-lt"/>
              <a:buAutoNum type="arabicPeriod"/>
            </a:pPr>
            <a:r>
              <a:rPr lang="en-US" sz="1200" noProof="0">
                <a:solidFill>
                  <a:schemeClr val="accent1"/>
                </a:solidFill>
                <a:latin typeface="Arial"/>
                <a:cs typeface="Arial"/>
              </a:rPr>
              <a:t>Peoples’ pipeline proximity to </a:t>
            </a:r>
            <a:r>
              <a:rPr lang="en-US" sz="1200" b="1" noProof="0">
                <a:solidFill>
                  <a:schemeClr val="accent1"/>
                </a:solidFill>
                <a:latin typeface="Arial"/>
                <a:cs typeface="Arial"/>
              </a:rPr>
              <a:t>Mitchell</a:t>
            </a:r>
            <a:r>
              <a:rPr lang="en-US" sz="1200" noProof="0">
                <a:solidFill>
                  <a:schemeClr val="accent1"/>
                </a:solidFill>
                <a:latin typeface="Arial"/>
                <a:cs typeface="Arial"/>
              </a:rPr>
              <a:t>, </a:t>
            </a:r>
            <a:r>
              <a:rPr lang="en-US" sz="1200" b="1" noProof="0" err="1">
                <a:solidFill>
                  <a:schemeClr val="accent1"/>
                </a:solidFill>
                <a:latin typeface="Arial"/>
                <a:cs typeface="Arial"/>
              </a:rPr>
              <a:t>Elrama</a:t>
            </a:r>
            <a:r>
              <a:rPr lang="en-US" sz="1200" noProof="0">
                <a:solidFill>
                  <a:schemeClr val="accent1"/>
                </a:solidFill>
                <a:latin typeface="Arial"/>
                <a:cs typeface="Arial"/>
              </a:rPr>
              <a:t>, and parts of </a:t>
            </a:r>
            <a:r>
              <a:rPr lang="en-US" sz="1200" b="1" noProof="0">
                <a:solidFill>
                  <a:schemeClr val="accent1"/>
                </a:solidFill>
                <a:latin typeface="Arial"/>
                <a:cs typeface="Arial"/>
              </a:rPr>
              <a:t>Armstrong</a:t>
            </a:r>
            <a:r>
              <a:rPr lang="en-US" sz="1200" noProof="0">
                <a:solidFill>
                  <a:schemeClr val="accent1"/>
                </a:solidFill>
                <a:latin typeface="Arial"/>
                <a:cs typeface="Arial"/>
              </a:rPr>
              <a:t> County gives it a strong delivery and pricing advantage over electric utilities.</a:t>
            </a:r>
          </a:p>
        </p:txBody>
      </p:sp>
      <p:pic>
        <p:nvPicPr>
          <p:cNvPr id="7" name="Picture 6" descr="A close-up of blue text&#10;&#10;AI-generated content may be incorrect.">
            <a:extLst>
              <a:ext uri="{FF2B5EF4-FFF2-40B4-BE49-F238E27FC236}">
                <a16:creationId xmlns:a16="http://schemas.microsoft.com/office/drawing/2014/main" id="{0FC61E4D-130C-1C85-9DB1-61BE71741E3E}"/>
              </a:ext>
            </a:extLst>
          </p:cNvPr>
          <p:cNvPicPr>
            <a:picLocks noChangeAspect="1"/>
          </p:cNvPicPr>
          <p:nvPr/>
        </p:nvPicPr>
        <p:blipFill>
          <a:blip r:embed="rId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197560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ED771-531E-0CFC-AB36-70B5EBAD081D}"/>
            </a:ext>
          </a:extLst>
        </p:cNvPr>
        <p:cNvGrpSpPr/>
        <p:nvPr/>
      </p:nvGrpSpPr>
      <p:grpSpPr>
        <a:xfrm>
          <a:off x="0" y="0"/>
          <a:ext cx="0" cy="0"/>
          <a:chOff x="0" y="0"/>
          <a:chExt cx="0" cy="0"/>
        </a:xfrm>
      </p:grpSpPr>
      <p:pic>
        <p:nvPicPr>
          <p:cNvPr id="19" name="Picture 18" descr="A poster of a company&amp;#39;s company&#10;&#10;AI-generated content may be incorrect.">
            <a:extLst>
              <a:ext uri="{FF2B5EF4-FFF2-40B4-BE49-F238E27FC236}">
                <a16:creationId xmlns:a16="http://schemas.microsoft.com/office/drawing/2014/main" id="{65CC306E-FBB4-B391-BBCB-A9D2CEEBF644}"/>
              </a:ext>
            </a:extLst>
          </p:cNvPr>
          <p:cNvPicPr>
            <a:picLocks noChangeAspect="1"/>
          </p:cNvPicPr>
          <p:nvPr/>
        </p:nvPicPr>
        <p:blipFill>
          <a:blip r:embed="rId2"/>
          <a:stretch>
            <a:fillRect/>
          </a:stretch>
        </p:blipFill>
        <p:spPr>
          <a:xfrm>
            <a:off x="8858249" y="2293397"/>
            <a:ext cx="2938880" cy="3706429"/>
          </a:xfrm>
          <a:prstGeom prst="rect">
            <a:avLst/>
          </a:prstGeom>
        </p:spPr>
      </p:pic>
      <p:pic>
        <p:nvPicPr>
          <p:cNvPr id="20" name="Picture 19" descr="A blue and white background with white text&#10;&#10;AI-generated content may be incorrect.">
            <a:extLst>
              <a:ext uri="{FF2B5EF4-FFF2-40B4-BE49-F238E27FC236}">
                <a16:creationId xmlns:a16="http://schemas.microsoft.com/office/drawing/2014/main" id="{E4BEEEA1-B43B-424A-1404-3F2438E80EC4}"/>
              </a:ext>
            </a:extLst>
          </p:cNvPr>
          <p:cNvPicPr>
            <a:picLocks noChangeAspect="1"/>
          </p:cNvPicPr>
          <p:nvPr/>
        </p:nvPicPr>
        <p:blipFill>
          <a:blip r:embed="rId3"/>
          <a:stretch>
            <a:fillRect/>
          </a:stretch>
        </p:blipFill>
        <p:spPr>
          <a:xfrm>
            <a:off x="468852" y="2293396"/>
            <a:ext cx="2953676" cy="3898777"/>
          </a:xfrm>
          <a:prstGeom prst="rect">
            <a:avLst/>
          </a:prstGeom>
        </p:spPr>
      </p:pic>
      <p:pic>
        <p:nvPicPr>
          <p:cNvPr id="21" name="Picture 20" descr="A blue and yellow poster with white text&#10;&#10;AI-generated content may be incorrect.">
            <a:extLst>
              <a:ext uri="{FF2B5EF4-FFF2-40B4-BE49-F238E27FC236}">
                <a16:creationId xmlns:a16="http://schemas.microsoft.com/office/drawing/2014/main" id="{1EA707ED-DD78-A054-3968-71BDD22F5976}"/>
              </a:ext>
            </a:extLst>
          </p:cNvPr>
          <p:cNvPicPr>
            <a:picLocks noChangeAspect="1"/>
          </p:cNvPicPr>
          <p:nvPr/>
        </p:nvPicPr>
        <p:blipFill>
          <a:blip r:embed="rId4"/>
          <a:srcRect l="1163" t="2322" b="2678"/>
          <a:stretch/>
        </p:blipFill>
        <p:spPr>
          <a:xfrm>
            <a:off x="4479191" y="1314445"/>
            <a:ext cx="3201985" cy="4229110"/>
          </a:xfrm>
          <a:prstGeom prst="rect">
            <a:avLst/>
          </a:prstGeom>
        </p:spPr>
      </p:pic>
      <p:sp>
        <p:nvSpPr>
          <p:cNvPr id="3" name="Slide Number Placeholder 23">
            <a:extLst>
              <a:ext uri="{FF2B5EF4-FFF2-40B4-BE49-F238E27FC236}">
                <a16:creationId xmlns:a16="http://schemas.microsoft.com/office/drawing/2014/main" id="{06685C57-8112-2CEC-F987-0B5D01CEFC98}"/>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8</a:t>
            </a:fld>
            <a:endParaRPr lang="en-US" b="1" noProof="0">
              <a:solidFill>
                <a:schemeClr val="accent1"/>
              </a:solidFill>
              <a:latin typeface="Arial" panose="020B0604020202020204" pitchFamily="34" charset="0"/>
              <a:cs typeface="Arial" panose="020B0604020202020204" pitchFamily="34" charset="0"/>
            </a:endParaRPr>
          </a:p>
        </p:txBody>
      </p:sp>
      <p:pic>
        <p:nvPicPr>
          <p:cNvPr id="5" name="Picture 4" descr="A close-up of blue text&#10;&#10;AI-generated content may be incorrect.">
            <a:extLst>
              <a:ext uri="{FF2B5EF4-FFF2-40B4-BE49-F238E27FC236}">
                <a16:creationId xmlns:a16="http://schemas.microsoft.com/office/drawing/2014/main" id="{B29B69E6-E105-B995-C41A-0EA66E1218B0}"/>
              </a:ext>
            </a:extLst>
          </p:cNvPr>
          <p:cNvPicPr>
            <a:picLocks noChangeAspect="1"/>
          </p:cNvPicPr>
          <p:nvPr/>
        </p:nvPicPr>
        <p:blipFill>
          <a:blip r:embed="rId5"/>
          <a:stretch>
            <a:fillRect/>
          </a:stretch>
        </p:blipFill>
        <p:spPr>
          <a:xfrm>
            <a:off x="7801586" y="5979638"/>
            <a:ext cx="4666600" cy="1120163"/>
          </a:xfrm>
          <a:prstGeom prst="rect">
            <a:avLst/>
          </a:prstGeom>
        </p:spPr>
      </p:pic>
      <p:sp>
        <p:nvSpPr>
          <p:cNvPr id="2" name="Text Placeholder 1">
            <a:extLst>
              <a:ext uri="{FF2B5EF4-FFF2-40B4-BE49-F238E27FC236}">
                <a16:creationId xmlns:a16="http://schemas.microsoft.com/office/drawing/2014/main" id="{C65B9011-0685-32AC-8535-DE4F95C047AF}"/>
              </a:ext>
            </a:extLst>
          </p:cNvPr>
          <p:cNvSpPr txBox="1">
            <a:spLocks/>
          </p:cNvSpPr>
          <p:nvPr/>
        </p:nvSpPr>
        <p:spPr>
          <a:xfrm>
            <a:off x="480877" y="193027"/>
            <a:ext cx="11045375" cy="533974"/>
          </a:xfrm>
          <a:prstGeom prst="rect">
            <a:avLst/>
          </a:prstGeom>
        </p:spPr>
        <p:txBody>
          <a:bodyPr lIns="91440" tIns="45720" rIns="91440" bIns="45720" anchor="t">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3200" b="1" noProof="0">
                <a:solidFill>
                  <a:schemeClr val="accent1"/>
                </a:solidFill>
                <a:latin typeface="Arial"/>
                <a:cs typeface="Arial"/>
              </a:rPr>
              <a:t>Marketing Campaign Examples: Flyers</a:t>
            </a:r>
          </a:p>
        </p:txBody>
      </p:sp>
    </p:spTree>
    <p:extLst>
      <p:ext uri="{BB962C8B-B14F-4D97-AF65-F5344CB8AC3E}">
        <p14:creationId xmlns:p14="http://schemas.microsoft.com/office/powerpoint/2010/main" val="20133804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73DACA-94C6-2835-2A74-1598703991DC}"/>
              </a:ext>
            </a:extLst>
          </p:cNvPr>
          <p:cNvSpPr>
            <a:spLocks noGrp="1"/>
          </p:cNvSpPr>
          <p:nvPr>
            <p:ph type="body" sz="quarter" idx="15"/>
          </p:nvPr>
        </p:nvSpPr>
        <p:spPr>
          <a:xfrm>
            <a:off x="665784" y="123372"/>
            <a:ext cx="4748045" cy="714726"/>
          </a:xfrm>
        </p:spPr>
        <p:txBody>
          <a:bodyPr>
            <a:normAutofit fontScale="70000" lnSpcReduction="20000"/>
          </a:bodyPr>
          <a:lstStyle/>
          <a:p>
            <a:r>
              <a:rPr lang="en-IN"/>
              <a:t>Clean Fuel Price Comparison</a:t>
            </a:r>
          </a:p>
        </p:txBody>
      </p:sp>
      <p:graphicFrame>
        <p:nvGraphicFramePr>
          <p:cNvPr id="4" name="Table 3">
            <a:extLst>
              <a:ext uri="{FF2B5EF4-FFF2-40B4-BE49-F238E27FC236}">
                <a16:creationId xmlns:a16="http://schemas.microsoft.com/office/drawing/2014/main" id="{6C2D9A11-610C-E31B-0A4E-1CAE723A8CBE}"/>
              </a:ext>
            </a:extLst>
          </p:cNvPr>
          <p:cNvGraphicFramePr>
            <a:graphicFrameLocks noGrp="1"/>
          </p:cNvGraphicFramePr>
          <p:nvPr>
            <p:extLst>
              <p:ext uri="{D42A27DB-BD31-4B8C-83A1-F6EECF244321}">
                <p14:modId xmlns:p14="http://schemas.microsoft.com/office/powerpoint/2010/main" val="649007334"/>
              </p:ext>
            </p:extLst>
          </p:nvPr>
        </p:nvGraphicFramePr>
        <p:xfrm>
          <a:off x="5531429" y="1066800"/>
          <a:ext cx="6588000" cy="3474720"/>
        </p:xfrm>
        <a:graphic>
          <a:graphicData uri="http://schemas.openxmlformats.org/drawingml/2006/table">
            <a:tbl>
              <a:tblPr>
                <a:tableStyleId>{5DA37D80-6434-44D0-A028-1B22A696006F}</a:tableStyleId>
              </a:tblPr>
              <a:tblGrid>
                <a:gridCol w="1317600">
                  <a:extLst>
                    <a:ext uri="{9D8B030D-6E8A-4147-A177-3AD203B41FA5}">
                      <a16:colId xmlns:a16="http://schemas.microsoft.com/office/drawing/2014/main" val="3233187277"/>
                    </a:ext>
                  </a:extLst>
                </a:gridCol>
                <a:gridCol w="1317600">
                  <a:extLst>
                    <a:ext uri="{9D8B030D-6E8A-4147-A177-3AD203B41FA5}">
                      <a16:colId xmlns:a16="http://schemas.microsoft.com/office/drawing/2014/main" val="1539565919"/>
                    </a:ext>
                  </a:extLst>
                </a:gridCol>
                <a:gridCol w="1317600">
                  <a:extLst>
                    <a:ext uri="{9D8B030D-6E8A-4147-A177-3AD203B41FA5}">
                      <a16:colId xmlns:a16="http://schemas.microsoft.com/office/drawing/2014/main" val="1476421691"/>
                    </a:ext>
                  </a:extLst>
                </a:gridCol>
                <a:gridCol w="1153842">
                  <a:extLst>
                    <a:ext uri="{9D8B030D-6E8A-4147-A177-3AD203B41FA5}">
                      <a16:colId xmlns:a16="http://schemas.microsoft.com/office/drawing/2014/main" val="3918954533"/>
                    </a:ext>
                  </a:extLst>
                </a:gridCol>
                <a:gridCol w="1481358">
                  <a:extLst>
                    <a:ext uri="{9D8B030D-6E8A-4147-A177-3AD203B41FA5}">
                      <a16:colId xmlns:a16="http://schemas.microsoft.com/office/drawing/2014/main" val="3209207568"/>
                    </a:ext>
                  </a:extLst>
                </a:gridCol>
              </a:tblGrid>
              <a:tr h="636632">
                <a:tc>
                  <a:txBody>
                    <a:bodyPr/>
                    <a:lstStyle/>
                    <a:p>
                      <a:r>
                        <a:rPr lang="en-IN" sz="1200" b="1"/>
                        <a:t>Fuel Type</a:t>
                      </a:r>
                      <a:endParaRPr lang="en-IN" sz="1200"/>
                    </a:p>
                  </a:txBody>
                  <a:tcPr anchor="ctr"/>
                </a:tc>
                <a:tc>
                  <a:txBody>
                    <a:bodyPr/>
                    <a:lstStyle/>
                    <a:p>
                      <a:r>
                        <a:rPr lang="en-IN" sz="1200" b="1"/>
                        <a:t>Typical Price Range</a:t>
                      </a:r>
                      <a:endParaRPr lang="en-IN" sz="1200"/>
                    </a:p>
                  </a:txBody>
                  <a:tcPr anchor="ctr"/>
                </a:tc>
                <a:tc>
                  <a:txBody>
                    <a:bodyPr/>
                    <a:lstStyle/>
                    <a:p>
                      <a:r>
                        <a:rPr lang="en-IN" sz="1200" b="1"/>
                        <a:t>$/MMBtu Equivalent</a:t>
                      </a:r>
                      <a:endParaRPr lang="en-IN" sz="1200"/>
                    </a:p>
                  </a:txBody>
                  <a:tcPr anchor="ctr"/>
                </a:tc>
                <a:tc>
                  <a:txBody>
                    <a:bodyPr/>
                    <a:lstStyle/>
                    <a:p>
                      <a:r>
                        <a:rPr lang="en-IN" sz="1200" b="1"/>
                        <a:t>∆ vs. Conventional NG</a:t>
                      </a:r>
                      <a:endParaRPr lang="en-IN" sz="1200"/>
                    </a:p>
                  </a:txBody>
                  <a:tcPr anchor="ctr"/>
                </a:tc>
                <a:tc>
                  <a:txBody>
                    <a:bodyPr/>
                    <a:lstStyle/>
                    <a:p>
                      <a:r>
                        <a:rPr lang="en-IN" sz="1200" b="1"/>
                        <a:t>Feasibility for Peoples</a:t>
                      </a:r>
                      <a:endParaRPr lang="en-IN" sz="1200"/>
                    </a:p>
                  </a:txBody>
                  <a:tcPr anchor="ctr"/>
                </a:tc>
                <a:extLst>
                  <a:ext uri="{0D108BD9-81ED-4DB2-BD59-A6C34878D82A}">
                    <a16:rowId xmlns:a16="http://schemas.microsoft.com/office/drawing/2014/main" val="2011521198"/>
                  </a:ext>
                </a:extLst>
              </a:tr>
              <a:tr h="454737">
                <a:tc>
                  <a:txBody>
                    <a:bodyPr/>
                    <a:lstStyle/>
                    <a:p>
                      <a:r>
                        <a:rPr lang="en-IN" sz="1200" b="1">
                          <a:solidFill>
                            <a:srgbClr val="00B050"/>
                          </a:solidFill>
                        </a:rPr>
                        <a:t>Conventional Natural Gas</a:t>
                      </a:r>
                      <a:endParaRPr lang="en-IN" sz="1200">
                        <a:solidFill>
                          <a:srgbClr val="00B050"/>
                        </a:solidFill>
                      </a:endParaRPr>
                    </a:p>
                  </a:txBody>
                  <a:tcPr anchor="ctr"/>
                </a:tc>
                <a:tc>
                  <a:txBody>
                    <a:bodyPr/>
                    <a:lstStyle/>
                    <a:p>
                      <a:r>
                        <a:rPr lang="en-IN" sz="1200"/>
                        <a:t>$2.25–$3.50/Mcf</a:t>
                      </a:r>
                    </a:p>
                  </a:txBody>
                  <a:tcPr anchor="ctr"/>
                </a:tc>
                <a:tc>
                  <a:txBody>
                    <a:bodyPr/>
                    <a:lstStyle/>
                    <a:p>
                      <a:r>
                        <a:rPr lang="en-IN" sz="1200"/>
                        <a:t>~$2.20–$3.40/MMBtu</a:t>
                      </a:r>
                    </a:p>
                  </a:txBody>
                  <a:tcPr anchor="ctr"/>
                </a:tc>
                <a:tc>
                  <a:txBody>
                    <a:bodyPr/>
                    <a:lstStyle/>
                    <a:p>
                      <a:r>
                        <a:rPr lang="en-IN" sz="1200"/>
                        <a:t>Baseline</a:t>
                      </a:r>
                    </a:p>
                  </a:txBody>
                  <a:tcPr anchor="ctr"/>
                </a:tc>
                <a:tc>
                  <a:txBody>
                    <a:bodyPr/>
                    <a:lstStyle/>
                    <a:p>
                      <a:r>
                        <a:rPr lang="en-IN" sz="1200"/>
                        <a:t>Existing base fuel</a:t>
                      </a:r>
                    </a:p>
                  </a:txBody>
                  <a:tcPr anchor="ctr"/>
                </a:tc>
                <a:extLst>
                  <a:ext uri="{0D108BD9-81ED-4DB2-BD59-A6C34878D82A}">
                    <a16:rowId xmlns:a16="http://schemas.microsoft.com/office/drawing/2014/main" val="1318784969"/>
                  </a:ext>
                </a:extLst>
              </a:tr>
              <a:tr h="454737">
                <a:tc>
                  <a:txBody>
                    <a:bodyPr/>
                    <a:lstStyle/>
                    <a:p>
                      <a:r>
                        <a:rPr lang="en-IN" sz="1200" b="1"/>
                        <a:t>RNG (Renewable NG)</a:t>
                      </a:r>
                      <a:endParaRPr lang="en-IN" sz="1200"/>
                    </a:p>
                  </a:txBody>
                  <a:tcPr anchor="ctr"/>
                </a:tc>
                <a:tc>
                  <a:txBody>
                    <a:bodyPr/>
                    <a:lstStyle/>
                    <a:p>
                      <a:r>
                        <a:rPr lang="en-IN" sz="1200"/>
                        <a:t>$10–$30/MMBtu</a:t>
                      </a:r>
                    </a:p>
                  </a:txBody>
                  <a:tcPr anchor="ctr"/>
                </a:tc>
                <a:tc>
                  <a:txBody>
                    <a:bodyPr/>
                    <a:lstStyle/>
                    <a:p>
                      <a:r>
                        <a:rPr lang="en-IN" sz="1200"/>
                        <a:t>$10–$30/MMBtu</a:t>
                      </a:r>
                    </a:p>
                  </a:txBody>
                  <a:tcPr anchor="ctr"/>
                </a:tc>
                <a:tc>
                  <a:txBody>
                    <a:bodyPr/>
                    <a:lstStyle/>
                    <a:p>
                      <a:r>
                        <a:rPr lang="en-IN" sz="1200" b="0"/>
                        <a:t>+300% to +800%</a:t>
                      </a:r>
                    </a:p>
                  </a:txBody>
                  <a:tcPr anchor="ctr"/>
                </a:tc>
                <a:tc>
                  <a:txBody>
                    <a:bodyPr/>
                    <a:lstStyle/>
                    <a:p>
                      <a:r>
                        <a:rPr lang="en-US" sz="1200"/>
                        <a:t>High-cost; niche uses or mandates</a:t>
                      </a:r>
                    </a:p>
                  </a:txBody>
                  <a:tcPr anchor="ctr"/>
                </a:tc>
                <a:extLst>
                  <a:ext uri="{0D108BD9-81ED-4DB2-BD59-A6C34878D82A}">
                    <a16:rowId xmlns:a16="http://schemas.microsoft.com/office/drawing/2014/main" val="1290106426"/>
                  </a:ext>
                </a:extLst>
              </a:tr>
              <a:tr h="636632">
                <a:tc>
                  <a:txBody>
                    <a:bodyPr/>
                    <a:lstStyle/>
                    <a:p>
                      <a:r>
                        <a:rPr lang="en-IN" sz="1200" b="1"/>
                        <a:t>Green Hydrogen</a:t>
                      </a:r>
                      <a:endParaRPr lang="en-IN" sz="1200"/>
                    </a:p>
                  </a:txBody>
                  <a:tcPr anchor="ctr"/>
                </a:tc>
                <a:tc>
                  <a:txBody>
                    <a:bodyPr/>
                    <a:lstStyle/>
                    <a:p>
                      <a:r>
                        <a:rPr lang="fr-FR" sz="1200"/>
                        <a:t>$4–$7/kg (2025 est.)</a:t>
                      </a:r>
                    </a:p>
                  </a:txBody>
                  <a:tcPr anchor="ctr"/>
                </a:tc>
                <a:tc>
                  <a:txBody>
                    <a:bodyPr/>
                    <a:lstStyle/>
                    <a:p>
                      <a:r>
                        <a:rPr lang="en-IN" sz="1200"/>
                        <a:t>$30–$60/MMBtu</a:t>
                      </a:r>
                    </a:p>
                  </a:txBody>
                  <a:tcPr anchor="ctr"/>
                </a:tc>
                <a:tc>
                  <a:txBody>
                    <a:bodyPr/>
                    <a:lstStyle/>
                    <a:p>
                      <a:r>
                        <a:rPr lang="en-IN" sz="1200" b="0"/>
                        <a:t>+1000%+</a:t>
                      </a:r>
                    </a:p>
                  </a:txBody>
                  <a:tcPr anchor="ctr"/>
                </a:tc>
                <a:tc>
                  <a:txBody>
                    <a:bodyPr/>
                    <a:lstStyle/>
                    <a:p>
                      <a:r>
                        <a:rPr lang="en-US" sz="1200"/>
                        <a:t>Too expensive for large-scale fuel substitution now</a:t>
                      </a:r>
                    </a:p>
                  </a:txBody>
                  <a:tcPr anchor="ctr"/>
                </a:tc>
                <a:extLst>
                  <a:ext uri="{0D108BD9-81ED-4DB2-BD59-A6C34878D82A}">
                    <a16:rowId xmlns:a16="http://schemas.microsoft.com/office/drawing/2014/main" val="1321322516"/>
                  </a:ext>
                </a:extLst>
              </a:tr>
              <a:tr h="636632">
                <a:tc>
                  <a:txBody>
                    <a:bodyPr/>
                    <a:lstStyle/>
                    <a:p>
                      <a:r>
                        <a:rPr lang="en-IN" sz="1200" b="1">
                          <a:solidFill>
                            <a:srgbClr val="00B050"/>
                          </a:solidFill>
                        </a:rPr>
                        <a:t>Turquoise Hydrogen</a:t>
                      </a:r>
                      <a:endParaRPr lang="en-IN" sz="1200">
                        <a:solidFill>
                          <a:srgbClr val="00B050"/>
                        </a:solidFill>
                      </a:endParaRPr>
                    </a:p>
                  </a:txBody>
                  <a:tcPr anchor="ctr"/>
                </a:tc>
                <a:tc>
                  <a:txBody>
                    <a:bodyPr/>
                    <a:lstStyle/>
                    <a:p>
                      <a:r>
                        <a:rPr lang="fr-FR" sz="1200"/>
                        <a:t>~$1.80–$2.50/kg (H Quest est.)</a:t>
                      </a:r>
                    </a:p>
                  </a:txBody>
                  <a:tcPr anchor="ctr"/>
                </a:tc>
                <a:tc>
                  <a:txBody>
                    <a:bodyPr/>
                    <a:lstStyle/>
                    <a:p>
                      <a:r>
                        <a:rPr lang="en-IN" sz="1200"/>
                        <a:t>~$13–$20/MMBtu</a:t>
                      </a:r>
                    </a:p>
                  </a:txBody>
                  <a:tcPr anchor="ctr"/>
                </a:tc>
                <a:tc>
                  <a:txBody>
                    <a:bodyPr/>
                    <a:lstStyle/>
                    <a:p>
                      <a:r>
                        <a:rPr lang="en-IN" sz="1200" b="0"/>
                        <a:t>+300% to +500%</a:t>
                      </a:r>
                    </a:p>
                  </a:txBody>
                  <a:tcPr anchor="ctr"/>
                </a:tc>
                <a:tc>
                  <a:txBody>
                    <a:bodyPr/>
                    <a:lstStyle/>
                    <a:p>
                      <a:r>
                        <a:rPr lang="en-US" sz="1200"/>
                        <a:t>Potential mid-term use via H Quest partnership</a:t>
                      </a:r>
                    </a:p>
                  </a:txBody>
                  <a:tcPr anchor="ctr"/>
                </a:tc>
                <a:extLst>
                  <a:ext uri="{0D108BD9-81ED-4DB2-BD59-A6C34878D82A}">
                    <a16:rowId xmlns:a16="http://schemas.microsoft.com/office/drawing/2014/main" val="51740823"/>
                  </a:ext>
                </a:extLst>
              </a:tr>
              <a:tr h="636632">
                <a:tc>
                  <a:txBody>
                    <a:bodyPr/>
                    <a:lstStyle/>
                    <a:p>
                      <a:r>
                        <a:rPr lang="en-IN" sz="1200" b="1">
                          <a:solidFill>
                            <a:srgbClr val="00B050"/>
                          </a:solidFill>
                        </a:rPr>
                        <a:t>Blended Hydrogen (10–20%)</a:t>
                      </a:r>
                      <a:endParaRPr lang="en-IN" sz="1200">
                        <a:solidFill>
                          <a:srgbClr val="00B050"/>
                        </a:solidFill>
                      </a:endParaRPr>
                    </a:p>
                  </a:txBody>
                  <a:tcPr anchor="ctr"/>
                </a:tc>
                <a:tc>
                  <a:txBody>
                    <a:bodyPr/>
                    <a:lstStyle/>
                    <a:p>
                      <a:r>
                        <a:rPr lang="en-IN" sz="1200"/>
                        <a:t>Mixed (blended pricing)</a:t>
                      </a:r>
                    </a:p>
                  </a:txBody>
                  <a:tcPr anchor="ctr"/>
                </a:tc>
                <a:tc>
                  <a:txBody>
                    <a:bodyPr/>
                    <a:lstStyle/>
                    <a:p>
                      <a:r>
                        <a:rPr lang="en-IN" sz="1200"/>
                        <a:t>~$3–$6/MMBtu</a:t>
                      </a:r>
                    </a:p>
                  </a:txBody>
                  <a:tcPr anchor="ctr"/>
                </a:tc>
                <a:tc>
                  <a:txBody>
                    <a:bodyPr/>
                    <a:lstStyle/>
                    <a:p>
                      <a:r>
                        <a:rPr lang="en-IN" sz="1200" b="0"/>
                        <a:t>+50–100% (blended)</a:t>
                      </a:r>
                    </a:p>
                  </a:txBody>
                  <a:tcPr anchor="ctr"/>
                </a:tc>
                <a:tc>
                  <a:txBody>
                    <a:bodyPr/>
                    <a:lstStyle/>
                    <a:p>
                      <a:r>
                        <a:rPr lang="en-US" sz="1200"/>
                        <a:t>Feasible pilot / ESG premium offering</a:t>
                      </a:r>
                    </a:p>
                  </a:txBody>
                  <a:tcPr anchor="ctr"/>
                </a:tc>
                <a:extLst>
                  <a:ext uri="{0D108BD9-81ED-4DB2-BD59-A6C34878D82A}">
                    <a16:rowId xmlns:a16="http://schemas.microsoft.com/office/drawing/2014/main" val="1901285160"/>
                  </a:ext>
                </a:extLst>
              </a:tr>
            </a:tbl>
          </a:graphicData>
        </a:graphic>
      </p:graphicFrame>
      <p:sp>
        <p:nvSpPr>
          <p:cNvPr id="5" name="Rectangle 4">
            <a:extLst>
              <a:ext uri="{FF2B5EF4-FFF2-40B4-BE49-F238E27FC236}">
                <a16:creationId xmlns:a16="http://schemas.microsoft.com/office/drawing/2014/main" id="{E112228C-E610-8BC5-1581-F3E9F655B361}"/>
              </a:ext>
            </a:extLst>
          </p:cNvPr>
          <p:cNvSpPr/>
          <p:nvPr/>
        </p:nvSpPr>
        <p:spPr>
          <a:xfrm>
            <a:off x="370114" y="1066800"/>
            <a:ext cx="5094515" cy="555171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t"/>
          <a:lstStyle/>
          <a:p>
            <a:pPr algn="ctr">
              <a:lnSpc>
                <a:spcPct val="150000"/>
              </a:lnSpc>
              <a:buNone/>
            </a:pPr>
            <a:r>
              <a:rPr lang="en-IN" sz="1200" b="1">
                <a:solidFill>
                  <a:schemeClr val="accent1">
                    <a:lumMod val="75000"/>
                  </a:schemeClr>
                </a:solidFill>
                <a:latin typeface="Arial" panose="020B0604020202020204" pitchFamily="34" charset="0"/>
                <a:cs typeface="Arial" panose="020B0604020202020204" pitchFamily="34" charset="0"/>
              </a:rPr>
              <a:t>Key Takeaways for Peoples Gas</a:t>
            </a:r>
          </a:p>
          <a:p>
            <a:pPr>
              <a:lnSpc>
                <a:spcPct val="150000"/>
              </a:lnSpc>
              <a:buNone/>
            </a:pPr>
            <a:r>
              <a:rPr lang="en-IN" sz="1200" b="1">
                <a:solidFill>
                  <a:schemeClr val="accent1">
                    <a:lumMod val="75000"/>
                  </a:schemeClr>
                </a:solidFill>
                <a:latin typeface="Arial" panose="020B0604020202020204" pitchFamily="34" charset="0"/>
                <a:cs typeface="Arial" panose="020B0604020202020204" pitchFamily="34" charset="0"/>
              </a:rPr>
              <a:t>RNG:</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Pros: Pipeline-compatible, carbon-neutral, strong ESG value</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Cons: 3–8× more expensive than fossil NG</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Use Case: Voluntary ESG programs, state mandates, or niche customers willing to pay green premiums</a:t>
            </a:r>
          </a:p>
          <a:p>
            <a:pPr>
              <a:lnSpc>
                <a:spcPct val="150000"/>
              </a:lnSpc>
              <a:buNone/>
            </a:pPr>
            <a:r>
              <a:rPr lang="en-IN" sz="1200" b="1">
                <a:solidFill>
                  <a:schemeClr val="accent1">
                    <a:lumMod val="75000"/>
                  </a:schemeClr>
                </a:solidFill>
                <a:latin typeface="Arial" panose="020B0604020202020204" pitchFamily="34" charset="0"/>
                <a:cs typeface="Arial" panose="020B0604020202020204" pitchFamily="34" charset="0"/>
              </a:rPr>
              <a:t>Green Hydrogen:</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Pros: Zero-emission when produced from renewables</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Cons: $4–$7/kg = ~$35–$60/MMBtu = ~15–20× more expensive</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Use Case: Long-term play. Not cost-competitive for base load power now</a:t>
            </a:r>
          </a:p>
          <a:p>
            <a:pPr>
              <a:lnSpc>
                <a:spcPct val="150000"/>
              </a:lnSpc>
              <a:buNone/>
            </a:pPr>
            <a:r>
              <a:rPr lang="en-IN" sz="1200" b="1">
                <a:solidFill>
                  <a:schemeClr val="accent1">
                    <a:lumMod val="75000"/>
                  </a:schemeClr>
                </a:solidFill>
                <a:latin typeface="Arial" panose="020B0604020202020204" pitchFamily="34" charset="0"/>
                <a:cs typeface="Arial" panose="020B0604020202020204" pitchFamily="34" charset="0"/>
              </a:rPr>
              <a:t>Turquoise Hydrogen (H Quest):</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Pros: Produced locally from methane with solid carbon byproducts (graphene, carbon black)</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Cost-effective (~$2/kg or ~$16/MMBtu) when co-product value is captured</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Peoples can support H Quest scaling to offer this fuel under green portfolios</a:t>
            </a:r>
          </a:p>
          <a:p>
            <a:pPr marL="171450" indent="-171450">
              <a:lnSpc>
                <a:spcPct val="150000"/>
              </a:lnSpc>
              <a:buFont typeface="Wingdings" panose="05000000000000000000" pitchFamily="2" charset="2"/>
              <a:buChar char="§"/>
            </a:pPr>
            <a:r>
              <a:rPr lang="en-IN" sz="1200">
                <a:solidFill>
                  <a:schemeClr val="accent1">
                    <a:lumMod val="75000"/>
                  </a:schemeClr>
                </a:solidFill>
                <a:latin typeface="Arial" panose="020B0604020202020204" pitchFamily="34" charset="0"/>
                <a:cs typeface="Arial" panose="020B0604020202020204" pitchFamily="34" charset="0"/>
              </a:rPr>
              <a:t>Use Case: Viable mid-term green fuel offering, especially in data center pilots</a:t>
            </a:r>
          </a:p>
        </p:txBody>
      </p:sp>
      <p:pic>
        <p:nvPicPr>
          <p:cNvPr id="6" name="Picture 5" descr="A close-up of blue text&#10;&#10;AI-generated content may be incorrect.">
            <a:extLst>
              <a:ext uri="{FF2B5EF4-FFF2-40B4-BE49-F238E27FC236}">
                <a16:creationId xmlns:a16="http://schemas.microsoft.com/office/drawing/2014/main" id="{2DBE61EC-EB41-0545-00F2-AC24DC69A667}"/>
              </a:ext>
            </a:extLst>
          </p:cNvPr>
          <p:cNvPicPr>
            <a:picLocks noChangeAspect="1"/>
          </p:cNvPicPr>
          <p:nvPr/>
        </p:nvPicPr>
        <p:blipFill>
          <a:blip r:embed="rId3"/>
          <a:stretch>
            <a:fillRect/>
          </a:stretch>
        </p:blipFill>
        <p:spPr>
          <a:xfrm>
            <a:off x="7801586" y="5979638"/>
            <a:ext cx="4666600" cy="1120163"/>
          </a:xfrm>
          <a:prstGeom prst="rect">
            <a:avLst/>
          </a:prstGeom>
        </p:spPr>
      </p:pic>
      <p:sp>
        <p:nvSpPr>
          <p:cNvPr id="7" name="Slide Number Placeholder 23">
            <a:extLst>
              <a:ext uri="{FF2B5EF4-FFF2-40B4-BE49-F238E27FC236}">
                <a16:creationId xmlns:a16="http://schemas.microsoft.com/office/drawing/2014/main" id="{1411C296-4247-A0BD-4ED5-BD09891E616C}"/>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39</a:t>
            </a:fld>
            <a:endParaRPr lang="en-US" b="1" noProof="0">
              <a:solidFill>
                <a:schemeClr val="accent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204D675B-843C-1BF2-E896-91B3DB79450B}"/>
              </a:ext>
            </a:extLst>
          </p:cNvPr>
          <p:cNvSpPr/>
          <p:nvPr/>
        </p:nvSpPr>
        <p:spPr>
          <a:xfrm>
            <a:off x="5531429" y="4618187"/>
            <a:ext cx="6529942" cy="1506842"/>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None/>
            </a:pPr>
            <a:r>
              <a:rPr lang="en-IN" sz="1200" b="1">
                <a:solidFill>
                  <a:schemeClr val="accent1">
                    <a:lumMod val="75000"/>
                  </a:schemeClr>
                </a:solidFill>
              </a:rPr>
              <a:t>Recommendation for Rate Strategy:</a:t>
            </a:r>
          </a:p>
          <a:p>
            <a:pPr marL="171450" indent="-171450">
              <a:buFont typeface="Wingdings" panose="05000000000000000000" pitchFamily="2" charset="2"/>
              <a:buChar char="§"/>
            </a:pPr>
            <a:r>
              <a:rPr lang="en-IN" sz="1200" b="1">
                <a:solidFill>
                  <a:schemeClr val="accent1">
                    <a:lumMod val="75000"/>
                  </a:schemeClr>
                </a:solidFill>
              </a:rPr>
              <a:t>Short-term:</a:t>
            </a:r>
            <a:r>
              <a:rPr lang="en-IN" sz="1200">
                <a:solidFill>
                  <a:schemeClr val="accent1">
                    <a:lumMod val="75000"/>
                  </a:schemeClr>
                </a:solidFill>
              </a:rPr>
              <a:t> Stick with conventional NG for base case (e.g., $65.08/MWh)</a:t>
            </a:r>
          </a:p>
          <a:p>
            <a:pPr marL="171450" indent="-171450">
              <a:buFont typeface="Wingdings" panose="05000000000000000000" pitchFamily="2" charset="2"/>
              <a:buChar char="§"/>
            </a:pPr>
            <a:r>
              <a:rPr lang="en-IN" sz="1200" b="1">
                <a:solidFill>
                  <a:schemeClr val="accent1">
                    <a:lumMod val="75000"/>
                  </a:schemeClr>
                </a:solidFill>
              </a:rPr>
              <a:t>Add optional “Green Fuel Premium” tier</a:t>
            </a:r>
            <a:r>
              <a:rPr lang="en-IN" sz="1200">
                <a:solidFill>
                  <a:schemeClr val="accent1">
                    <a:lumMod val="75000"/>
                  </a:schemeClr>
                </a:solidFill>
              </a:rPr>
              <a:t> with:</a:t>
            </a:r>
          </a:p>
          <a:p>
            <a:pPr marL="742950" lvl="1" indent="-285750">
              <a:buFont typeface="Wingdings" panose="05000000000000000000" pitchFamily="2" charset="2"/>
              <a:buChar char="§"/>
            </a:pPr>
            <a:r>
              <a:rPr lang="en-IN" sz="1200">
                <a:solidFill>
                  <a:schemeClr val="accent1">
                    <a:lumMod val="75000"/>
                  </a:schemeClr>
                </a:solidFill>
              </a:rPr>
              <a:t>RNG blend (e.g., +$15–25/MWh)</a:t>
            </a:r>
          </a:p>
          <a:p>
            <a:pPr marL="742950" lvl="1" indent="-285750">
              <a:buFont typeface="Wingdings" panose="05000000000000000000" pitchFamily="2" charset="2"/>
              <a:buChar char="§"/>
            </a:pPr>
            <a:r>
              <a:rPr lang="en-IN" sz="1200">
                <a:solidFill>
                  <a:schemeClr val="accent1">
                    <a:lumMod val="75000"/>
                  </a:schemeClr>
                </a:solidFill>
              </a:rPr>
              <a:t>Turquoise hydrogen (e.g., +$10–15/MWh)</a:t>
            </a:r>
          </a:p>
          <a:p>
            <a:pPr marL="171450" indent="-171450">
              <a:buFont typeface="Wingdings" panose="05000000000000000000" pitchFamily="2" charset="2"/>
              <a:buChar char="§"/>
            </a:pPr>
            <a:r>
              <a:rPr lang="en-IN" sz="1200" b="1">
                <a:solidFill>
                  <a:schemeClr val="accent1">
                    <a:lumMod val="75000"/>
                  </a:schemeClr>
                </a:solidFill>
              </a:rPr>
              <a:t>Position this for ESG-aligned data centers</a:t>
            </a:r>
            <a:r>
              <a:rPr lang="en-IN" sz="1200">
                <a:solidFill>
                  <a:schemeClr val="accent1">
                    <a:lumMod val="75000"/>
                  </a:schemeClr>
                </a:solidFill>
              </a:rPr>
              <a:t>, allowing them to claim Scope 1 emission reductions via green fuel contracts</a:t>
            </a:r>
          </a:p>
        </p:txBody>
      </p:sp>
    </p:spTree>
    <p:extLst>
      <p:ext uri="{BB962C8B-B14F-4D97-AF65-F5344CB8AC3E}">
        <p14:creationId xmlns:p14="http://schemas.microsoft.com/office/powerpoint/2010/main" val="34268166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1C862-36F7-4D83-A8C9-80C8595F52E3}"/>
            </a:ext>
          </a:extLst>
        </p:cNvPr>
        <p:cNvGrpSpPr/>
        <p:nvPr/>
      </p:nvGrpSpPr>
      <p:grpSpPr>
        <a:xfrm>
          <a:off x="0" y="0"/>
          <a:ext cx="0" cy="0"/>
          <a:chOff x="0" y="0"/>
          <a:chExt cx="0" cy="0"/>
        </a:xfrm>
      </p:grpSpPr>
      <p:sp>
        <p:nvSpPr>
          <p:cNvPr id="137" name="Flowchart: Connector 136">
            <a:extLst>
              <a:ext uri="{FF2B5EF4-FFF2-40B4-BE49-F238E27FC236}">
                <a16:creationId xmlns:a16="http://schemas.microsoft.com/office/drawing/2014/main" id="{75BD8667-4A2C-9083-5987-AE3F1AFFB00B}"/>
              </a:ext>
            </a:extLst>
          </p:cNvPr>
          <p:cNvSpPr/>
          <p:nvPr/>
        </p:nvSpPr>
        <p:spPr>
          <a:xfrm>
            <a:off x="9597805" y="880357"/>
            <a:ext cx="1696419" cy="1723767"/>
          </a:xfrm>
          <a:prstGeom prst="flowChartConnector">
            <a:avLst/>
          </a:prstGeom>
          <a:solidFill>
            <a:srgbClr val="E7C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6" name="Flowchart: Connector 135">
            <a:extLst>
              <a:ext uri="{FF2B5EF4-FFF2-40B4-BE49-F238E27FC236}">
                <a16:creationId xmlns:a16="http://schemas.microsoft.com/office/drawing/2014/main" id="{2F6C13DE-3CC5-4569-BC05-4BD9D421B7D6}"/>
              </a:ext>
            </a:extLst>
          </p:cNvPr>
          <p:cNvSpPr/>
          <p:nvPr/>
        </p:nvSpPr>
        <p:spPr>
          <a:xfrm>
            <a:off x="6738697" y="875110"/>
            <a:ext cx="1696419" cy="1723767"/>
          </a:xfrm>
          <a:prstGeom prst="flowChartConnector">
            <a:avLst/>
          </a:prstGeom>
          <a:solidFill>
            <a:srgbClr val="6EA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5" name="Flowchart: Connector 134">
            <a:extLst>
              <a:ext uri="{FF2B5EF4-FFF2-40B4-BE49-F238E27FC236}">
                <a16:creationId xmlns:a16="http://schemas.microsoft.com/office/drawing/2014/main" id="{5847D089-3C4B-66D3-0763-A27F296A7ACF}"/>
              </a:ext>
            </a:extLst>
          </p:cNvPr>
          <p:cNvSpPr/>
          <p:nvPr/>
        </p:nvSpPr>
        <p:spPr>
          <a:xfrm>
            <a:off x="3942746" y="877050"/>
            <a:ext cx="1696419" cy="1723767"/>
          </a:xfrm>
          <a:prstGeom prst="flowChartConnector">
            <a:avLst/>
          </a:prstGeom>
          <a:solidFill>
            <a:srgbClr val="FFE3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Flowchart: Connector 133">
            <a:extLst>
              <a:ext uri="{FF2B5EF4-FFF2-40B4-BE49-F238E27FC236}">
                <a16:creationId xmlns:a16="http://schemas.microsoft.com/office/drawing/2014/main" id="{F860FDF0-6747-B22F-F322-39D248EAD27C}"/>
              </a:ext>
            </a:extLst>
          </p:cNvPr>
          <p:cNvSpPr/>
          <p:nvPr/>
        </p:nvSpPr>
        <p:spPr>
          <a:xfrm>
            <a:off x="1120381" y="877051"/>
            <a:ext cx="1696419" cy="1723767"/>
          </a:xfrm>
          <a:prstGeom prst="flowChartConnector">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aphicFrame>
        <p:nvGraphicFramePr>
          <p:cNvPr id="15" name="think-cell data - do not delete" hidden="1">
            <a:extLst>
              <a:ext uri="{FF2B5EF4-FFF2-40B4-BE49-F238E27FC236}">
                <a16:creationId xmlns:a16="http://schemas.microsoft.com/office/drawing/2014/main" id="{92677CF6-426A-642B-8FE8-FBD337699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15" name="think-cell data - do not delete" hidden="1">
                        <a:extLst>
                          <a:ext uri="{FF2B5EF4-FFF2-40B4-BE49-F238E27FC236}">
                            <a16:creationId xmlns:a16="http://schemas.microsoft.com/office/drawing/2014/main" id="{92677CF6-426A-642B-8FE8-FBD3376997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7D675E4-420C-77E6-33B1-8A7C32B70E52}"/>
              </a:ext>
            </a:extLst>
          </p:cNvPr>
          <p:cNvSpPr>
            <a:spLocks noGrp="1"/>
          </p:cNvSpPr>
          <p:nvPr>
            <p:ph type="body" sz="quarter" idx="15"/>
          </p:nvPr>
        </p:nvSpPr>
        <p:spPr>
          <a:xfrm>
            <a:off x="592031" y="253988"/>
            <a:ext cx="10757719" cy="516626"/>
          </a:xfrm>
        </p:spPr>
        <p:txBody>
          <a:bodyPr>
            <a:noAutofit/>
          </a:bodyPr>
          <a:lstStyle/>
          <a:p>
            <a:pPr marL="0" indent="0">
              <a:lnSpc>
                <a:spcPct val="100000"/>
              </a:lnSpc>
              <a:buNone/>
            </a:pPr>
            <a:r>
              <a:rPr lang="en-US" sz="3200" b="1" noProof="0">
                <a:solidFill>
                  <a:schemeClr val="accent1"/>
                </a:solidFill>
              </a:rPr>
              <a:t>Market Research &amp; Technology Overview</a:t>
            </a:r>
          </a:p>
        </p:txBody>
      </p:sp>
      <p:sp>
        <p:nvSpPr>
          <p:cNvPr id="4" name="Rectangle 3">
            <a:extLst>
              <a:ext uri="{FF2B5EF4-FFF2-40B4-BE49-F238E27FC236}">
                <a16:creationId xmlns:a16="http://schemas.microsoft.com/office/drawing/2014/main" id="{13BB2741-92FF-CED6-58F3-9C352CCB122E}"/>
              </a:ext>
            </a:extLst>
          </p:cNvPr>
          <p:cNvSpPr/>
          <p:nvPr/>
        </p:nvSpPr>
        <p:spPr>
          <a:xfrm>
            <a:off x="670887" y="1739724"/>
            <a:ext cx="2514600" cy="444966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0000"/>
              </a:lnSpc>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Hydrogen Production Trends</a:t>
            </a:r>
          </a:p>
        </p:txBody>
      </p:sp>
      <p:sp>
        <p:nvSpPr>
          <p:cNvPr id="7" name="Rectangle 6">
            <a:extLst>
              <a:ext uri="{FF2B5EF4-FFF2-40B4-BE49-F238E27FC236}">
                <a16:creationId xmlns:a16="http://schemas.microsoft.com/office/drawing/2014/main" id="{A97FDE36-F010-79B9-04E4-924FBA593684}"/>
              </a:ext>
            </a:extLst>
          </p:cNvPr>
          <p:cNvSpPr/>
          <p:nvPr/>
        </p:nvSpPr>
        <p:spPr>
          <a:xfrm>
            <a:off x="3501582" y="1739724"/>
            <a:ext cx="2514600" cy="4449665"/>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200000"/>
              </a:lnSpc>
              <a:spcBef>
                <a:spcPts val="600"/>
              </a:spcBef>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Utility Benchmarking</a:t>
            </a:r>
          </a:p>
        </p:txBody>
      </p:sp>
      <p:sp>
        <p:nvSpPr>
          <p:cNvPr id="20" name="Rectangle 19">
            <a:extLst>
              <a:ext uri="{FF2B5EF4-FFF2-40B4-BE49-F238E27FC236}">
                <a16:creationId xmlns:a16="http://schemas.microsoft.com/office/drawing/2014/main" id="{1ECFAF80-3C96-05BA-271B-F10CDAB8AC13}"/>
              </a:ext>
            </a:extLst>
          </p:cNvPr>
          <p:cNvSpPr/>
          <p:nvPr/>
        </p:nvSpPr>
        <p:spPr>
          <a:xfrm>
            <a:off x="6332277" y="1739724"/>
            <a:ext cx="2514600" cy="4449665"/>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200000"/>
              </a:lnSpc>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Policy Drivers</a:t>
            </a:r>
          </a:p>
        </p:txBody>
      </p:sp>
      <p:sp>
        <p:nvSpPr>
          <p:cNvPr id="23" name="Rectangle 22">
            <a:extLst>
              <a:ext uri="{FF2B5EF4-FFF2-40B4-BE49-F238E27FC236}">
                <a16:creationId xmlns:a16="http://schemas.microsoft.com/office/drawing/2014/main" id="{15822E3D-2C1A-280B-A2E8-7FECE2BCCFA4}"/>
              </a:ext>
            </a:extLst>
          </p:cNvPr>
          <p:cNvSpPr/>
          <p:nvPr/>
        </p:nvSpPr>
        <p:spPr>
          <a:xfrm>
            <a:off x="9162972" y="1739723"/>
            <a:ext cx="2514600" cy="4449665"/>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0000"/>
              </a:lnSpc>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Public Sentiment &amp; Technology</a:t>
            </a:r>
          </a:p>
        </p:txBody>
      </p:sp>
      <p:sp>
        <p:nvSpPr>
          <p:cNvPr id="25" name="Rectangle 24">
            <a:extLst>
              <a:ext uri="{FF2B5EF4-FFF2-40B4-BE49-F238E27FC236}">
                <a16:creationId xmlns:a16="http://schemas.microsoft.com/office/drawing/2014/main" id="{E7F6F311-5442-C455-FC11-AF1C3B34BB20}"/>
              </a:ext>
            </a:extLst>
          </p:cNvPr>
          <p:cNvSpPr/>
          <p:nvPr/>
        </p:nvSpPr>
        <p:spPr>
          <a:xfrm>
            <a:off x="817109" y="2312015"/>
            <a:ext cx="2221018" cy="37626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nSpc>
                <a:spcPct val="110000"/>
              </a:lnSpc>
              <a:buFont typeface="Arial" panose="020B0604020202020204" pitchFamily="34" charset="0"/>
              <a:buChar char="•"/>
            </a:pPr>
            <a:r>
              <a:rPr lang="en-US" sz="1100" b="1" noProof="0">
                <a:solidFill>
                  <a:schemeClr val="accent1"/>
                </a:solidFill>
                <a:latin typeface="Arial"/>
                <a:ea typeface="Open Sans"/>
                <a:cs typeface="Arial"/>
              </a:rPr>
              <a:t>Green and turquoise hydrogen </a:t>
            </a:r>
            <a:r>
              <a:rPr lang="en-US" sz="1100" noProof="0">
                <a:solidFill>
                  <a:schemeClr val="accent1"/>
                </a:solidFill>
                <a:latin typeface="Arial"/>
                <a:ea typeface="Open Sans"/>
                <a:cs typeface="Arial"/>
              </a:rPr>
              <a:t>are gaining policy and investment support as clean alternatives to grey hydrogen.</a:t>
            </a:r>
            <a:br>
              <a:rPr lang="en-US" sz="1100" noProof="0">
                <a:solidFill>
                  <a:schemeClr val="accent1"/>
                </a:solidFill>
                <a:latin typeface="Arial"/>
                <a:ea typeface="Open Sans"/>
                <a:cs typeface="Arial"/>
              </a:rPr>
            </a:br>
            <a:endPar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endParaRPr>
          </a:p>
          <a:p>
            <a:pPr marL="171450" indent="-171450">
              <a:lnSpc>
                <a:spcPct val="110000"/>
              </a:lnSpc>
              <a:buFont typeface="Arial" panose="020B0604020202020204" pitchFamily="34" charset="0"/>
              <a:buChar char="•"/>
            </a:pPr>
            <a:r>
              <a:rPr lang="en-US" sz="1100" b="1" noProof="0">
                <a:solidFill>
                  <a:schemeClr val="accent1"/>
                </a:solidFill>
                <a:latin typeface="Arial"/>
                <a:ea typeface="Open Sans"/>
                <a:cs typeface="Arial"/>
              </a:rPr>
              <a:t>Turquoise hydrogen</a:t>
            </a:r>
            <a:r>
              <a:rPr lang="en-US" sz="1100" noProof="0">
                <a:solidFill>
                  <a:schemeClr val="accent1"/>
                </a:solidFill>
                <a:latin typeface="Arial"/>
                <a:ea typeface="Open Sans"/>
                <a:cs typeface="Arial"/>
              </a:rPr>
              <a:t>, as piloted by H Quest, uses methane pyrolysis and yields both hydrogen and valuable carbon byproducts. It requires significantly less energy than electrolysis.</a:t>
            </a:r>
          </a:p>
        </p:txBody>
      </p:sp>
      <p:sp>
        <p:nvSpPr>
          <p:cNvPr id="26" name="Rectangle 25">
            <a:extLst>
              <a:ext uri="{FF2B5EF4-FFF2-40B4-BE49-F238E27FC236}">
                <a16:creationId xmlns:a16="http://schemas.microsoft.com/office/drawing/2014/main" id="{452B0014-4DAC-DBDC-3DE0-9B161D4D67E8}"/>
              </a:ext>
            </a:extLst>
          </p:cNvPr>
          <p:cNvSpPr/>
          <p:nvPr/>
        </p:nvSpPr>
        <p:spPr>
          <a:xfrm>
            <a:off x="3648373" y="2312014"/>
            <a:ext cx="2221018" cy="3762633"/>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lnSpc>
                <a:spcPct val="110000"/>
              </a:lnSpc>
              <a:spcAft>
                <a:spcPts val="1200"/>
              </a:spcAft>
              <a:buFont typeface="Arial" panose="020B0604020202020204" pitchFamily="34" charset="0"/>
              <a:buChar char="•"/>
            </a:pP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SoCalGas</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 Advanced in hydrogen blending (up to 20%), strong public engagement, and infrastructure modernization.</a:t>
            </a:r>
          </a:p>
          <a:p>
            <a:pPr marL="171450" indent="-171450">
              <a:lnSpc>
                <a:spcPct val="110000"/>
              </a:lnSpc>
              <a:spcAft>
                <a:spcPts val="1200"/>
              </a:spcAft>
              <a:buFont typeface="Arial" panose="020B0604020202020204" pitchFamily="34" charset="0"/>
              <a:buChar char="•"/>
            </a:pP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UGI</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 Investing in RNG and hydrogen pilots, demonstrating flexible fuel sourcing.</a:t>
            </a:r>
          </a:p>
          <a:p>
            <a:pPr marL="171450" indent="-171450">
              <a:lnSpc>
                <a:spcPct val="110000"/>
              </a:lnSpc>
              <a:spcAft>
                <a:spcPts val="1200"/>
              </a:spcAft>
              <a:buFont typeface="Arial" panose="020B0604020202020204" pitchFamily="34" charset="0"/>
              <a:buChar char="•"/>
            </a:pP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Dominion</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 Integrating carbon capture with hydrogen, aiming for net-zero distribution.</a:t>
            </a:r>
          </a:p>
          <a:p>
            <a:pPr marL="171450" indent="-171450">
              <a:lnSpc>
                <a:spcPct val="110000"/>
              </a:lnSpc>
              <a:spcAft>
                <a:spcPts val="1200"/>
              </a:spcAft>
              <a:buFont typeface="Arial" panose="020B0604020202020204" pitchFamily="34" charset="0"/>
              <a:buChar char="•"/>
            </a:pP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Columbia Gas</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 Actively upgrading pipelines for hydrogen readiness.</a:t>
            </a:r>
          </a:p>
        </p:txBody>
      </p:sp>
      <p:sp>
        <p:nvSpPr>
          <p:cNvPr id="27" name="Rectangle 26">
            <a:extLst>
              <a:ext uri="{FF2B5EF4-FFF2-40B4-BE49-F238E27FC236}">
                <a16:creationId xmlns:a16="http://schemas.microsoft.com/office/drawing/2014/main" id="{56090AFE-88CA-BF2E-7827-9C34123AE7FE}"/>
              </a:ext>
            </a:extLst>
          </p:cNvPr>
          <p:cNvSpPr/>
          <p:nvPr/>
        </p:nvSpPr>
        <p:spPr>
          <a:xfrm>
            <a:off x="6476398" y="2312013"/>
            <a:ext cx="2221018" cy="376263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lnSpc>
                <a:spcPct val="110000"/>
              </a:lnSpc>
              <a:spcAft>
                <a:spcPts val="1200"/>
              </a:spcAft>
              <a:buFont typeface="Arial" panose="020B0604020202020204" pitchFamily="34" charset="0"/>
              <a:buChar char="•"/>
            </a:pPr>
            <a:r>
              <a:rPr lang="en-US" sz="1100" noProof="0">
                <a:solidFill>
                  <a:schemeClr val="accent1"/>
                </a:solidFill>
                <a:latin typeface="Arial"/>
                <a:ea typeface="Open Sans"/>
                <a:cs typeface="Arial"/>
              </a:rPr>
              <a:t>Pennsylvania’s carbon reduction targets and federal incentives (Infrastructure Investment and Jobs Act) offer </a:t>
            </a:r>
            <a:r>
              <a:rPr lang="en-US" sz="1100" b="1" noProof="0">
                <a:solidFill>
                  <a:schemeClr val="accent1"/>
                </a:solidFill>
                <a:latin typeface="Arial"/>
                <a:ea typeface="Open Sans"/>
                <a:cs typeface="Arial"/>
              </a:rPr>
              <a:t>funding for hydrogen infrastructure</a:t>
            </a:r>
            <a:r>
              <a:rPr lang="en-US" sz="1100" noProof="0">
                <a:solidFill>
                  <a:schemeClr val="accent1"/>
                </a:solidFill>
                <a:latin typeface="Arial"/>
                <a:ea typeface="Open Sans"/>
                <a:cs typeface="Arial"/>
              </a:rPr>
              <a:t>.</a:t>
            </a:r>
          </a:p>
          <a:p>
            <a:pPr marL="285750" indent="-285750">
              <a:lnSpc>
                <a:spcPct val="110000"/>
              </a:lnSpc>
              <a:spcAft>
                <a:spcPts val="1200"/>
              </a:spcAft>
              <a:buFont typeface="Arial" panose="020B0604020202020204" pitchFamily="34" charset="0"/>
              <a:buChar char="•"/>
            </a:pPr>
            <a:r>
              <a:rPr lang="en-US" sz="1100" b="1" noProof="0">
                <a:solidFill>
                  <a:schemeClr val="accent1"/>
                </a:solidFill>
                <a:latin typeface="Arial"/>
                <a:ea typeface="Open Sans"/>
                <a:cs typeface="Arial"/>
              </a:rPr>
              <a:t>Section 1307(f) </a:t>
            </a:r>
            <a:r>
              <a:rPr lang="en-US" sz="1100" noProof="0">
                <a:solidFill>
                  <a:schemeClr val="accent1"/>
                </a:solidFill>
                <a:latin typeface="Arial"/>
                <a:ea typeface="Open Sans"/>
                <a:cs typeface="Arial"/>
              </a:rPr>
              <a:t>rate constraints prevent traditional cost pass-throughs for hydrogen, creating a need for new pricing models.</a:t>
            </a:r>
          </a:p>
          <a:p>
            <a:pPr marL="285750" indent="-285750">
              <a:lnSpc>
                <a:spcPct val="110000"/>
              </a:lnSpc>
              <a:spcAft>
                <a:spcPts val="1200"/>
              </a:spcAft>
              <a:buFont typeface="Arial" panose="020B0604020202020204" pitchFamily="34" charset="0"/>
              <a:buChar char="•"/>
            </a:pPr>
            <a:endParaRPr lang="en-US" sz="1100" noProof="0">
              <a:solidFill>
                <a:schemeClr val="accent1"/>
              </a:solidFill>
              <a:latin typeface="Arial"/>
              <a:ea typeface="Open Sans"/>
              <a:cs typeface="Arial"/>
            </a:endParaRPr>
          </a:p>
        </p:txBody>
      </p:sp>
      <p:sp>
        <p:nvSpPr>
          <p:cNvPr id="28" name="Rectangle 27">
            <a:extLst>
              <a:ext uri="{FF2B5EF4-FFF2-40B4-BE49-F238E27FC236}">
                <a16:creationId xmlns:a16="http://schemas.microsoft.com/office/drawing/2014/main" id="{684662BF-4AB4-8B20-E558-86C1941AD480}"/>
              </a:ext>
            </a:extLst>
          </p:cNvPr>
          <p:cNvSpPr/>
          <p:nvPr/>
        </p:nvSpPr>
        <p:spPr>
          <a:xfrm>
            <a:off x="9309763" y="2312012"/>
            <a:ext cx="2221018" cy="3762633"/>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10000"/>
              </a:lnSpc>
              <a:spcAft>
                <a:spcPts val="1200"/>
              </a:spcAft>
              <a:buFont typeface="Arial" panose="020B0604020202020204" pitchFamily="34" charset="0"/>
              <a:buChar char="•"/>
            </a:pP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Low public awareness </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of hydrogen blending in Pennsylvania compared to California; risk of opposition if not proactively addressed.</a:t>
            </a:r>
          </a:p>
          <a:p>
            <a:pPr marL="285750" indent="-285750">
              <a:lnSpc>
                <a:spcPct val="110000"/>
              </a:lnSpc>
              <a:spcAft>
                <a:spcPts val="1200"/>
              </a:spcAft>
              <a:buFont typeface="Arial" panose="020B0604020202020204" pitchFamily="34" charset="0"/>
              <a:buChar char="•"/>
            </a:pP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Track record of </a:t>
            </a:r>
            <a:r>
              <a:rPr lang="en-US" sz="1100" b="1" noProof="0">
                <a:solidFill>
                  <a:schemeClr val="accent1"/>
                </a:solidFill>
                <a:latin typeface="Arial" panose="020B0604020202020204" pitchFamily="34" charset="0"/>
                <a:ea typeface="Open Sans" panose="020B0606030504020204" pitchFamily="34" charset="0"/>
                <a:cs typeface="Arial" panose="020B0604020202020204" pitchFamily="34" charset="0"/>
              </a:rPr>
              <a:t>safety</a:t>
            </a:r>
            <a:r>
              <a:rPr lang="en-US" sz="1100" noProof="0">
                <a:solidFill>
                  <a:schemeClr val="accent1"/>
                </a:solidFill>
                <a:latin typeface="Arial" panose="020B0604020202020204" pitchFamily="34" charset="0"/>
                <a:ea typeface="Open Sans" panose="020B0606030504020204" pitchFamily="34" charset="0"/>
                <a:cs typeface="Arial" panose="020B0604020202020204" pitchFamily="34" charset="0"/>
              </a:rPr>
              <a:t> in global markets (e.g., Hawaii Gas, France, UK, Netherlands) supports feasibility.</a:t>
            </a:r>
          </a:p>
        </p:txBody>
      </p:sp>
      <p:pic>
        <p:nvPicPr>
          <p:cNvPr id="62" name="Graphic 61" descr="Badge with solid fill">
            <a:extLst>
              <a:ext uri="{FF2B5EF4-FFF2-40B4-BE49-F238E27FC236}">
                <a16:creationId xmlns:a16="http://schemas.microsoft.com/office/drawing/2014/main" id="{3F0E77E0-38F9-FB03-450D-67EE63C666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586" y="885704"/>
            <a:ext cx="914400" cy="914400"/>
          </a:xfrm>
          <a:prstGeom prst="rect">
            <a:avLst/>
          </a:prstGeom>
        </p:spPr>
      </p:pic>
      <p:pic>
        <p:nvPicPr>
          <p:cNvPr id="128" name="Graphic 127" descr="Badge 3 with solid fill">
            <a:extLst>
              <a:ext uri="{FF2B5EF4-FFF2-40B4-BE49-F238E27FC236}">
                <a16:creationId xmlns:a16="http://schemas.microsoft.com/office/drawing/2014/main" id="{9241EDF7-217E-33BE-47E4-7BB6EA7DDE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29706" y="875110"/>
            <a:ext cx="914400" cy="914400"/>
          </a:xfrm>
          <a:prstGeom prst="rect">
            <a:avLst/>
          </a:prstGeom>
        </p:spPr>
      </p:pic>
      <p:pic>
        <p:nvPicPr>
          <p:cNvPr id="131" name="Graphic 130" descr="Badge 4 with solid fill">
            <a:extLst>
              <a:ext uri="{FF2B5EF4-FFF2-40B4-BE49-F238E27FC236}">
                <a16:creationId xmlns:a16="http://schemas.microsoft.com/office/drawing/2014/main" id="{11405612-49C7-FD39-0341-FF488BCB24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88814" y="885541"/>
            <a:ext cx="914400" cy="914400"/>
          </a:xfrm>
          <a:prstGeom prst="rect">
            <a:avLst/>
          </a:prstGeom>
        </p:spPr>
      </p:pic>
      <p:pic>
        <p:nvPicPr>
          <p:cNvPr id="133" name="Graphic 132" descr="Badge 1 with solid fill">
            <a:extLst>
              <a:ext uri="{FF2B5EF4-FFF2-40B4-BE49-F238E27FC236}">
                <a16:creationId xmlns:a16="http://schemas.microsoft.com/office/drawing/2014/main" id="{B56C21CE-96FC-14B5-93B1-B61A0ECE336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99052" y="891406"/>
            <a:ext cx="902998" cy="902998"/>
          </a:xfrm>
          <a:prstGeom prst="rect">
            <a:avLst/>
          </a:prstGeom>
        </p:spPr>
      </p:pic>
      <p:sp>
        <p:nvSpPr>
          <p:cNvPr id="146" name="Slide Number Placeholder 23">
            <a:extLst>
              <a:ext uri="{FF2B5EF4-FFF2-40B4-BE49-F238E27FC236}">
                <a16:creationId xmlns:a16="http://schemas.microsoft.com/office/drawing/2014/main" id="{9E15BC6F-2949-B000-8AF6-5A650D5A57F5}"/>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4</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EA2E1740-B259-8488-C607-6886D5416F26}"/>
              </a:ext>
            </a:extLst>
          </p:cNvPr>
          <p:cNvGraphicFramePr/>
          <p:nvPr>
            <p:extLst>
              <p:ext uri="{D42A27DB-BD31-4B8C-83A1-F6EECF244321}">
                <p14:modId xmlns:p14="http://schemas.microsoft.com/office/powerpoint/2010/main" val="2017209940"/>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5" name="Picture 4" descr="A close-up of blue text&#10;&#10;AI-generated content may be incorrect.">
            <a:extLst>
              <a:ext uri="{FF2B5EF4-FFF2-40B4-BE49-F238E27FC236}">
                <a16:creationId xmlns:a16="http://schemas.microsoft.com/office/drawing/2014/main" id="{DA18D059-FA68-B847-7134-E81BC370298B}"/>
              </a:ext>
            </a:extLst>
          </p:cNvPr>
          <p:cNvPicPr>
            <a:picLocks noChangeAspect="1"/>
          </p:cNvPicPr>
          <p:nvPr/>
        </p:nvPicPr>
        <p:blipFill>
          <a:blip r:embed="rId18"/>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2740716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13D1A-5783-5BC3-B18A-919D9E585BD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4D9C46E-F4CB-704A-E055-9F23131D8429}"/>
              </a:ext>
            </a:extLst>
          </p:cNvPr>
          <p:cNvSpPr>
            <a:spLocks noGrp="1"/>
          </p:cNvSpPr>
          <p:nvPr>
            <p:ph type="body" sz="quarter" idx="15"/>
          </p:nvPr>
        </p:nvSpPr>
        <p:spPr>
          <a:xfrm>
            <a:off x="725715" y="186503"/>
            <a:ext cx="4936731" cy="611782"/>
          </a:xfrm>
        </p:spPr>
        <p:txBody>
          <a:bodyPr>
            <a:normAutofit fontScale="70000" lnSpcReduction="20000"/>
          </a:bodyPr>
          <a:lstStyle/>
          <a:p>
            <a:r>
              <a:rPr lang="en-US" sz="3200" noProof="0">
                <a:effectLst/>
                <a:latin typeface="Segoe UI" panose="020B0502040204020203" pitchFamily="34" charset="0"/>
              </a:rPr>
              <a:t>Recommendations and Next Steps – Part 2 Data center</a:t>
            </a:r>
          </a:p>
          <a:p>
            <a:endParaRPr lang="en-US" sz="6000" noProof="0"/>
          </a:p>
        </p:txBody>
      </p:sp>
      <p:sp>
        <p:nvSpPr>
          <p:cNvPr id="3" name="Rectangle 2">
            <a:extLst>
              <a:ext uri="{FF2B5EF4-FFF2-40B4-BE49-F238E27FC236}">
                <a16:creationId xmlns:a16="http://schemas.microsoft.com/office/drawing/2014/main" id="{A29D2098-315F-0DEB-ED53-71B67101A661}"/>
              </a:ext>
            </a:extLst>
          </p:cNvPr>
          <p:cNvSpPr/>
          <p:nvPr/>
        </p:nvSpPr>
        <p:spPr>
          <a:xfrm>
            <a:off x="725715" y="859971"/>
            <a:ext cx="11183257" cy="513805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pPr algn="ctr">
              <a:lnSpc>
                <a:spcPct val="150000"/>
              </a:lnSpc>
            </a:pPr>
            <a:r>
              <a:rPr lang="en-US" sz="1200" b="1" noProof="0">
                <a:solidFill>
                  <a:schemeClr val="tx1"/>
                </a:solidFill>
                <a:latin typeface="Arial" panose="020B0604020202020204" pitchFamily="34" charset="0"/>
                <a:cs typeface="Arial" panose="020B0604020202020204" pitchFamily="34" charset="0"/>
              </a:rPr>
              <a:t>Advocate for Data Center Incentives</a:t>
            </a:r>
            <a:r>
              <a:rPr lang="en-US" sz="1200" noProof="0">
                <a:solidFill>
                  <a:schemeClr val="tx1"/>
                </a:solidFill>
                <a:latin typeface="Arial" panose="020B0604020202020204" pitchFamily="34" charset="0"/>
                <a:cs typeface="Arial" panose="020B0604020202020204" pitchFamily="34" charset="0"/>
              </a:rPr>
              <a:t> by partnering with the Pennsylvania Department of Community and Economic Development (DCED)</a:t>
            </a:r>
            <a:endParaRPr lang="en-US" sz="1200" b="1" noProof="0">
              <a:solidFill>
                <a:schemeClr val="tx1"/>
              </a:solidFill>
              <a:latin typeface="Arial" panose="020B0604020202020204" pitchFamily="34" charset="0"/>
              <a:cs typeface="Arial" panose="020B0604020202020204" pitchFamily="34" charset="0"/>
            </a:endParaRPr>
          </a:p>
          <a:p>
            <a:pPr>
              <a:lnSpc>
                <a:spcPct val="150000"/>
              </a:lnSpc>
            </a:pPr>
            <a:r>
              <a:rPr lang="en-US" sz="1200" b="1" noProof="0">
                <a:solidFill>
                  <a:schemeClr val="tx1"/>
                </a:solidFill>
                <a:latin typeface="Arial" panose="020B0604020202020204" pitchFamily="34" charset="0"/>
                <a:cs typeface="Arial" panose="020B0604020202020204" pitchFamily="34" charset="0"/>
              </a:rPr>
              <a:t>1. Formal Coalition Building – ✅ Highly feasible</a:t>
            </a:r>
          </a:p>
          <a:p>
            <a:pPr>
              <a:lnSpc>
                <a:spcPct val="150000"/>
              </a:lnSpc>
            </a:pPr>
            <a:r>
              <a:rPr lang="en-US" sz="1200" b="1" noProof="0">
                <a:solidFill>
                  <a:schemeClr val="tx1"/>
                </a:solidFill>
                <a:latin typeface="Arial" panose="020B0604020202020204" pitchFamily="34" charset="0"/>
                <a:cs typeface="Arial" panose="020B0604020202020204" pitchFamily="34" charset="0"/>
              </a:rPr>
              <a:t>Why it’s doable:</a:t>
            </a:r>
            <a:r>
              <a:rPr lang="en-US" sz="1200" noProof="0">
                <a:solidFill>
                  <a:schemeClr val="tx1"/>
                </a:solidFill>
                <a:latin typeface="Arial" panose="020B0604020202020204" pitchFamily="34" charset="0"/>
                <a:cs typeface="Arial" panose="020B0604020202020204" pitchFamily="34" charset="0"/>
              </a:rPr>
              <a:t> Peoples Gas has relationships with DCED, economic development authorities, and local stakeholders. They can easily initiate or co-lead a working group with PEDA, the Allegheny Conference, or Pittsburgh Regional Alliance.</a:t>
            </a:r>
          </a:p>
          <a:p>
            <a:pPr>
              <a:lnSpc>
                <a:spcPct val="150000"/>
              </a:lnSpc>
            </a:pPr>
            <a:r>
              <a:rPr lang="en-US" sz="1200" b="1" noProof="0">
                <a:solidFill>
                  <a:schemeClr val="tx1"/>
                </a:solidFill>
                <a:latin typeface="Arial" panose="020B0604020202020204" pitchFamily="34" charset="0"/>
                <a:cs typeface="Arial" panose="020B0604020202020204" pitchFamily="34" charset="0"/>
              </a:rPr>
              <a:t>Value:</a:t>
            </a:r>
            <a:r>
              <a:rPr lang="en-US" sz="1200" noProof="0">
                <a:solidFill>
                  <a:schemeClr val="tx1"/>
                </a:solidFill>
                <a:latin typeface="Arial" panose="020B0604020202020204" pitchFamily="34" charset="0"/>
                <a:cs typeface="Arial" panose="020B0604020202020204" pitchFamily="34" charset="0"/>
              </a:rPr>
              <a:t> Positions Peoples as a proactive convener and partner in digital infrastructure development.</a:t>
            </a:r>
          </a:p>
          <a:p>
            <a:pPr>
              <a:lnSpc>
                <a:spcPct val="150000"/>
              </a:lnSpc>
            </a:pPr>
            <a:endParaRPr lang="en-US" sz="1200" noProof="0">
              <a:solidFill>
                <a:schemeClr val="tx1"/>
              </a:solidFill>
              <a:latin typeface="Arial" panose="020B0604020202020204" pitchFamily="34" charset="0"/>
              <a:cs typeface="Arial" panose="020B0604020202020204" pitchFamily="34" charset="0"/>
            </a:endParaRPr>
          </a:p>
          <a:p>
            <a:pPr>
              <a:lnSpc>
                <a:spcPct val="150000"/>
              </a:lnSpc>
            </a:pPr>
            <a:r>
              <a:rPr lang="en-US" sz="1200" b="1" noProof="0">
                <a:solidFill>
                  <a:schemeClr val="tx1"/>
                </a:solidFill>
                <a:latin typeface="Arial" panose="020B0604020202020204" pitchFamily="34" charset="0"/>
                <a:cs typeface="Arial" panose="020B0604020202020204" pitchFamily="34" charset="0"/>
              </a:rPr>
              <a:t>2. Host or Co-Sponsor a Regional Data Center Incentive Summit – ✅ Feasible</a:t>
            </a:r>
          </a:p>
          <a:p>
            <a:pPr>
              <a:lnSpc>
                <a:spcPct val="150000"/>
              </a:lnSpc>
            </a:pPr>
            <a:r>
              <a:rPr lang="en-US" sz="1200" b="1" noProof="0">
                <a:solidFill>
                  <a:schemeClr val="tx1"/>
                </a:solidFill>
                <a:latin typeface="Arial" panose="020B0604020202020204" pitchFamily="34" charset="0"/>
                <a:cs typeface="Arial" panose="020B0604020202020204" pitchFamily="34" charset="0"/>
              </a:rPr>
              <a:t>Why it’s doable:</a:t>
            </a:r>
            <a:r>
              <a:rPr lang="en-US" sz="1200" noProof="0">
                <a:solidFill>
                  <a:schemeClr val="tx1"/>
                </a:solidFill>
                <a:latin typeface="Arial" panose="020B0604020202020204" pitchFamily="34" charset="0"/>
                <a:cs typeface="Arial" panose="020B0604020202020204" pitchFamily="34" charset="0"/>
              </a:rPr>
              <a:t> Requires only sponsorship and coordination, not regulatory approval.</a:t>
            </a:r>
          </a:p>
          <a:p>
            <a:pPr>
              <a:lnSpc>
                <a:spcPct val="150000"/>
              </a:lnSpc>
            </a:pPr>
            <a:r>
              <a:rPr lang="en-US" sz="1200" b="1" noProof="0">
                <a:solidFill>
                  <a:schemeClr val="tx1"/>
                </a:solidFill>
                <a:latin typeface="Arial" panose="020B0604020202020204" pitchFamily="34" charset="0"/>
                <a:cs typeface="Arial" panose="020B0604020202020204" pitchFamily="34" charset="0"/>
              </a:rPr>
              <a:t>Value:</a:t>
            </a:r>
            <a:r>
              <a:rPr lang="en-US" sz="1200" noProof="0">
                <a:solidFill>
                  <a:schemeClr val="tx1"/>
                </a:solidFill>
                <a:latin typeface="Arial" panose="020B0604020202020204" pitchFamily="34" charset="0"/>
                <a:cs typeface="Arial" panose="020B0604020202020204" pitchFamily="34" charset="0"/>
              </a:rPr>
              <a:t> High visibility event that elevates Peoples' role in the site selection ecosystem and showcases Western PA as “open for data business.”</a:t>
            </a:r>
          </a:p>
          <a:p>
            <a:pPr>
              <a:lnSpc>
                <a:spcPct val="150000"/>
              </a:lnSpc>
            </a:pPr>
            <a:endParaRPr lang="en-US" sz="1200" noProof="0">
              <a:solidFill>
                <a:schemeClr val="tx1"/>
              </a:solidFill>
              <a:latin typeface="Arial" panose="020B0604020202020204" pitchFamily="34" charset="0"/>
              <a:cs typeface="Arial" panose="020B0604020202020204" pitchFamily="34" charset="0"/>
            </a:endParaRPr>
          </a:p>
          <a:p>
            <a:pPr>
              <a:lnSpc>
                <a:spcPct val="150000"/>
              </a:lnSpc>
            </a:pPr>
            <a:r>
              <a:rPr lang="en-US" sz="1200" b="1" noProof="0">
                <a:solidFill>
                  <a:schemeClr val="tx1"/>
                </a:solidFill>
                <a:latin typeface="Arial" panose="020B0604020202020204" pitchFamily="34" charset="0"/>
                <a:cs typeface="Arial" panose="020B0604020202020204" pitchFamily="34" charset="0"/>
              </a:rPr>
              <a:t>3. Engage the PUC on Flexible Tariffs or Pilot Rates – ✅ Feasible (with preparation)</a:t>
            </a:r>
          </a:p>
          <a:p>
            <a:pPr>
              <a:lnSpc>
                <a:spcPct val="150000"/>
              </a:lnSpc>
            </a:pPr>
            <a:r>
              <a:rPr lang="en-US" sz="1200" b="1" noProof="0">
                <a:solidFill>
                  <a:schemeClr val="tx1"/>
                </a:solidFill>
                <a:latin typeface="Arial" panose="020B0604020202020204" pitchFamily="34" charset="0"/>
                <a:cs typeface="Arial" panose="020B0604020202020204" pitchFamily="34" charset="0"/>
              </a:rPr>
              <a:t>Why it’s doable:</a:t>
            </a:r>
            <a:r>
              <a:rPr lang="en-US" sz="1200" noProof="0">
                <a:solidFill>
                  <a:schemeClr val="tx1"/>
                </a:solidFill>
                <a:latin typeface="Arial" panose="020B0604020202020204" pitchFamily="34" charset="0"/>
                <a:cs typeface="Arial" panose="020B0604020202020204" pitchFamily="34" charset="0"/>
              </a:rPr>
              <a:t> Peoples already interfaces with the PUC; advocating for opt-in rates for data centers or pilot tariffs is within scope.</a:t>
            </a:r>
          </a:p>
          <a:p>
            <a:pPr>
              <a:lnSpc>
                <a:spcPct val="150000"/>
              </a:lnSpc>
            </a:pPr>
            <a:r>
              <a:rPr lang="en-US" sz="1200" b="1" noProof="0">
                <a:solidFill>
                  <a:schemeClr val="tx1"/>
                </a:solidFill>
                <a:latin typeface="Arial" panose="020B0604020202020204" pitchFamily="34" charset="0"/>
                <a:cs typeface="Arial" panose="020B0604020202020204" pitchFamily="34" charset="0"/>
              </a:rPr>
              <a:t>Requires:</a:t>
            </a:r>
            <a:r>
              <a:rPr lang="en-US" sz="1200" noProof="0">
                <a:solidFill>
                  <a:schemeClr val="tx1"/>
                </a:solidFill>
                <a:latin typeface="Arial" panose="020B0604020202020204" pitchFamily="34" charset="0"/>
                <a:cs typeface="Arial" panose="020B0604020202020204" pitchFamily="34" charset="0"/>
              </a:rPr>
              <a:t> Internal alignment, external rate design consulting, and stakeholder engagement.</a:t>
            </a:r>
          </a:p>
          <a:p>
            <a:pPr>
              <a:lnSpc>
                <a:spcPct val="150000"/>
              </a:lnSpc>
            </a:pPr>
            <a:r>
              <a:rPr lang="en-US" sz="1200" b="1" noProof="0">
                <a:solidFill>
                  <a:schemeClr val="tx1"/>
                </a:solidFill>
                <a:latin typeface="Arial" panose="020B0604020202020204" pitchFamily="34" charset="0"/>
                <a:cs typeface="Arial" panose="020B0604020202020204" pitchFamily="34" charset="0"/>
              </a:rPr>
              <a:t>Value:</a:t>
            </a:r>
            <a:r>
              <a:rPr lang="en-US" sz="1200" noProof="0">
                <a:solidFill>
                  <a:schemeClr val="tx1"/>
                </a:solidFill>
                <a:latin typeface="Arial" panose="020B0604020202020204" pitchFamily="34" charset="0"/>
                <a:cs typeface="Arial" panose="020B0604020202020204" pitchFamily="34" charset="0"/>
              </a:rPr>
              <a:t> Lays groundwork for a differentiated rate structure that could help attract large-load users.</a:t>
            </a:r>
          </a:p>
        </p:txBody>
      </p:sp>
      <p:pic>
        <p:nvPicPr>
          <p:cNvPr id="4" name="Picture 3" descr="A close-up of blue text&#10;&#10;AI-generated content may be incorrect.">
            <a:extLst>
              <a:ext uri="{FF2B5EF4-FFF2-40B4-BE49-F238E27FC236}">
                <a16:creationId xmlns:a16="http://schemas.microsoft.com/office/drawing/2014/main" id="{F3892E13-C571-A4F7-F9EB-EB7461C7C113}"/>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Slide Number Placeholder 23">
            <a:extLst>
              <a:ext uri="{FF2B5EF4-FFF2-40B4-BE49-F238E27FC236}">
                <a16:creationId xmlns:a16="http://schemas.microsoft.com/office/drawing/2014/main" id="{4FB3B910-96DA-4DE5-991E-086A14AA6A80}"/>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40</a:t>
            </a:fld>
            <a:endParaRPr lang="en-US" b="1" noProof="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50289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2635CA-6598-2AC3-F490-F1A3A2CF20EA}"/>
              </a:ext>
            </a:extLst>
          </p:cNvPr>
          <p:cNvSpPr>
            <a:spLocks noGrp="1"/>
          </p:cNvSpPr>
          <p:nvPr>
            <p:ph type="body" sz="quarter" idx="15"/>
          </p:nvPr>
        </p:nvSpPr>
        <p:spPr/>
        <p:txBody>
          <a:bodyPr/>
          <a:lstStyle/>
          <a:p>
            <a:r>
              <a:rPr lang="en-US" noProof="0"/>
              <a:t>References – Coal sites</a:t>
            </a:r>
          </a:p>
        </p:txBody>
      </p:sp>
      <p:sp>
        <p:nvSpPr>
          <p:cNvPr id="24" name="TextBox 23">
            <a:extLst>
              <a:ext uri="{FF2B5EF4-FFF2-40B4-BE49-F238E27FC236}">
                <a16:creationId xmlns:a16="http://schemas.microsoft.com/office/drawing/2014/main" id="{5B6D4F6A-C7DF-F55D-3573-9224E58601CA}"/>
              </a:ext>
            </a:extLst>
          </p:cNvPr>
          <p:cNvSpPr txBox="1"/>
          <p:nvPr/>
        </p:nvSpPr>
        <p:spPr>
          <a:xfrm>
            <a:off x="321088" y="1191515"/>
            <a:ext cx="4911312" cy="5139292"/>
          </a:xfrm>
          <a:prstGeom prst="rect">
            <a:avLst/>
          </a:prstGeom>
          <a:noFill/>
        </p:spPr>
        <p:txBody>
          <a:bodyPr wrap="square" rtlCol="0">
            <a:spAutoFit/>
          </a:bodyPr>
          <a:lstStyle/>
          <a:p>
            <a:pPr>
              <a:lnSpc>
                <a:spcPct val="150000"/>
              </a:lnSpc>
              <a:buNone/>
            </a:pPr>
            <a:r>
              <a:rPr lang="en-US" sz="1100" b="1" noProof="0">
                <a:latin typeface="Arial" panose="020B0604020202020204" pitchFamily="34" charset="0"/>
                <a:cs typeface="Arial" panose="020B0604020202020204" pitchFamily="34" charset="0"/>
              </a:rPr>
              <a:t>1. Mitchell Power Station (Washington County, PA)</a:t>
            </a:r>
          </a:p>
          <a:p>
            <a:pPr>
              <a:lnSpc>
                <a:spcPct val="150000"/>
              </a:lnSpc>
              <a:buNone/>
            </a:pPr>
            <a:r>
              <a:rPr lang="en-US" sz="1100" b="1" noProof="0">
                <a:latin typeface="Arial" panose="020B0604020202020204" pitchFamily="34" charset="0"/>
                <a:cs typeface="Arial" panose="020B0604020202020204" pitchFamily="34" charset="0"/>
              </a:rPr>
              <a:t>Sources</a:t>
            </a:r>
            <a:r>
              <a:rPr lang="en-US" sz="1100" noProof="0">
                <a:latin typeface="Arial" panose="020B0604020202020204" pitchFamily="34" charset="0"/>
                <a:cs typeface="Arial" panose="020B0604020202020204" pitchFamily="34" charset="0"/>
              </a:rPr>
              <a:t>:</a:t>
            </a: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rPr>
              <a:t>Mitchell Power Station Redevelopment Playbook (2018)</a:t>
            </a: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hlinkClick r:id="rId3"/>
              </a:rPr>
              <a:t>PA Department of Community &amp; Economic Development</a:t>
            </a:r>
            <a:endParaRPr lang="en-US" sz="1100" noProof="0">
              <a:latin typeface="Arial" panose="020B0604020202020204" pitchFamily="34" charset="0"/>
              <a:cs typeface="Arial" panose="020B0604020202020204" pitchFamily="34" charset="0"/>
            </a:endParaRPr>
          </a:p>
          <a:p>
            <a:pPr>
              <a:lnSpc>
                <a:spcPct val="150000"/>
              </a:lnSpc>
            </a:pPr>
            <a:endParaRPr lang="en-US" sz="1100" noProof="0">
              <a:latin typeface="Arial" panose="020B0604020202020204" pitchFamily="34" charset="0"/>
              <a:cs typeface="Arial" panose="020B0604020202020204" pitchFamily="34" charset="0"/>
            </a:endParaRPr>
          </a:p>
          <a:p>
            <a:pPr>
              <a:lnSpc>
                <a:spcPct val="150000"/>
              </a:lnSpc>
              <a:buNone/>
            </a:pPr>
            <a:r>
              <a:rPr lang="en-US" sz="1100" b="1" noProof="0">
                <a:latin typeface="Arial" panose="020B0604020202020204" pitchFamily="34" charset="0"/>
                <a:cs typeface="Arial" panose="020B0604020202020204" pitchFamily="34" charset="0"/>
              </a:rPr>
              <a:t>2. Homer City Generating Station (Indiana County, PA)</a:t>
            </a:r>
          </a:p>
          <a:p>
            <a:pPr>
              <a:lnSpc>
                <a:spcPct val="150000"/>
              </a:lnSpc>
            </a:pPr>
            <a:r>
              <a:rPr lang="en-US" sz="1100" b="1" noProof="0">
                <a:latin typeface="Arial" panose="020B0604020202020204" pitchFamily="34" charset="0"/>
                <a:cs typeface="Arial" panose="020B0604020202020204" pitchFamily="34" charset="0"/>
              </a:rPr>
              <a:t>Sources</a:t>
            </a:r>
            <a:r>
              <a:rPr lang="en-US" sz="1100" noProof="0">
                <a:latin typeface="Arial" panose="020B0604020202020204" pitchFamily="34" charset="0"/>
                <a:cs typeface="Arial" panose="020B0604020202020204" pitchFamily="34" charset="0"/>
              </a:rPr>
              <a:t>:</a:t>
            </a: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hlinkClick r:id="rId4"/>
              </a:rPr>
              <a:t>Homer city</a:t>
            </a:r>
            <a:endParaRPr lang="en-US" sz="1100" noProof="0">
              <a:latin typeface="Arial" panose="020B0604020202020204" pitchFamily="34" charset="0"/>
              <a:cs typeface="Arial" panose="020B0604020202020204" pitchFamily="34" charset="0"/>
            </a:endParaRP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hlinkClick r:id="rId5"/>
              </a:rPr>
              <a:t>Wikipedia: Homer City Generating Station</a:t>
            </a:r>
            <a:endParaRPr lang="en-US" sz="1100" noProof="0">
              <a:latin typeface="Arial" panose="020B0604020202020204" pitchFamily="34" charset="0"/>
              <a:cs typeface="Arial" panose="020B0604020202020204" pitchFamily="34" charset="0"/>
            </a:endParaRPr>
          </a:p>
          <a:p>
            <a:pPr>
              <a:lnSpc>
                <a:spcPct val="150000"/>
              </a:lnSpc>
            </a:pPr>
            <a:endParaRPr lang="en-US" sz="1100" noProof="0">
              <a:latin typeface="Arial" panose="020B0604020202020204" pitchFamily="34" charset="0"/>
              <a:cs typeface="Arial" panose="020B0604020202020204" pitchFamily="34" charset="0"/>
            </a:endParaRPr>
          </a:p>
          <a:p>
            <a:pPr>
              <a:lnSpc>
                <a:spcPct val="150000"/>
              </a:lnSpc>
              <a:buNone/>
            </a:pPr>
            <a:r>
              <a:rPr lang="en-US" sz="1100" b="1" noProof="0">
                <a:latin typeface="Arial" panose="020B0604020202020204" pitchFamily="34" charset="0"/>
                <a:cs typeface="Arial" panose="020B0604020202020204" pitchFamily="34" charset="0"/>
              </a:rPr>
              <a:t>3. Bruce Mansfield Power Plant (Beaver County, PA)</a:t>
            </a:r>
          </a:p>
          <a:p>
            <a:pPr>
              <a:lnSpc>
                <a:spcPct val="150000"/>
              </a:lnSpc>
            </a:pPr>
            <a:r>
              <a:rPr lang="en-US" sz="1100" b="1" noProof="0">
                <a:latin typeface="Arial" panose="020B0604020202020204" pitchFamily="34" charset="0"/>
                <a:cs typeface="Arial" panose="020B0604020202020204" pitchFamily="34" charset="0"/>
              </a:rPr>
              <a:t>Sources</a:t>
            </a:r>
            <a:r>
              <a:rPr lang="en-US" sz="1100" noProof="0">
                <a:latin typeface="Arial" panose="020B0604020202020204" pitchFamily="34" charset="0"/>
                <a:cs typeface="Arial" panose="020B0604020202020204" pitchFamily="34" charset="0"/>
              </a:rPr>
              <a:t>:</a:t>
            </a: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hlinkClick r:id="rId6"/>
              </a:rPr>
              <a:t>Wikipedia: Bruce Mansfield Power Plant</a:t>
            </a:r>
            <a:endParaRPr lang="en-US" sz="1100" noProof="0">
              <a:latin typeface="Arial" panose="020B0604020202020204" pitchFamily="34" charset="0"/>
              <a:cs typeface="Arial" panose="020B0604020202020204" pitchFamily="34" charset="0"/>
            </a:endParaRPr>
          </a:p>
          <a:p>
            <a:pPr marL="171450" indent="-171450">
              <a:lnSpc>
                <a:spcPct val="150000"/>
              </a:lnSpc>
              <a:buFont typeface="Arial" panose="020B0604020202020204" pitchFamily="34" charset="0"/>
              <a:buChar char="•"/>
            </a:pPr>
            <a:r>
              <a:rPr lang="en-US" sz="1100" noProof="0">
                <a:latin typeface="Arial" panose="020B0604020202020204" pitchFamily="34" charset="0"/>
                <a:cs typeface="Arial" panose="020B0604020202020204" pitchFamily="34" charset="0"/>
                <a:hlinkClick r:id="rId7"/>
              </a:rPr>
              <a:t>Bruce Mansfield</a:t>
            </a:r>
            <a:endParaRPr lang="en-US" sz="1100" noProof="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4. </a:t>
            </a:r>
            <a:r>
              <a:rPr kumimoji="0" lang="en-US" sz="1100" b="1"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Elrama</a:t>
            </a: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Power Plant (Washington County)</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Global Energy Monitor Overview</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8"/>
              </a:rPr>
              <a:t>Global Energy Monitor</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Observer-Reporter on Demolition</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9"/>
              </a:rPr>
              <a:t>Observer-Reporter</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CDRecycler</a:t>
            </a: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Video on Implosion</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0"/>
              </a:rPr>
              <a:t>Construction &amp; Demolition Recycling</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TribLive</a:t>
            </a: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Article on Redevelopment Plans</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err="1">
                <a:ln>
                  <a:noFill/>
                </a:ln>
                <a:solidFill>
                  <a:schemeClr val="tx1"/>
                </a:solidFill>
                <a:effectLst/>
                <a:latin typeface="Arial" panose="020B0604020202020204" pitchFamily="34" charset="0"/>
                <a:cs typeface="Arial" panose="020B0604020202020204" pitchFamily="34" charset="0"/>
                <a:hlinkClick r:id="rId11"/>
              </a:rPr>
              <a:t>TribLive</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p:txBody>
      </p:sp>
      <p:pic>
        <p:nvPicPr>
          <p:cNvPr id="3089" name="Picture 17" descr="Pennsylvania officially enacts carbon pricing for power plants ...">
            <a:extLst>
              <a:ext uri="{FF2B5EF4-FFF2-40B4-BE49-F238E27FC236}">
                <a16:creationId xmlns:a16="http://schemas.microsoft.com/office/drawing/2014/main" id="{5E71ECB9-9E87-CF9E-91D5-3639D793C90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64372" y="0"/>
            <a:ext cx="3427628" cy="2176272"/>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311FFF52-B5B2-2435-A4F8-C73E376DE0AE}"/>
              </a:ext>
            </a:extLst>
          </p:cNvPr>
          <p:cNvSpPr txBox="1"/>
          <p:nvPr/>
        </p:nvSpPr>
        <p:spPr>
          <a:xfrm>
            <a:off x="4876320" y="1443411"/>
            <a:ext cx="4732867" cy="4635500"/>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5. Armstrong Power Station (Armstrong County)</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Global Energy Monitor Overview</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3"/>
              </a:rPr>
              <a:t>Global Energy Monitor</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Power Technology Profile</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4"/>
              </a:rPr>
              <a:t>Power Technology</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endPar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6. Cheswick Generating Station (Allegheny County)</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Global Energy Monitor Overview</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5"/>
              </a:rPr>
              <a:t>Global Energy Monitor</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Charah</a:t>
            </a: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Solutions Acquisition News</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err="1">
                <a:ln>
                  <a:noFill/>
                </a:ln>
                <a:solidFill>
                  <a:schemeClr val="tx1"/>
                </a:solidFill>
                <a:effectLst/>
                <a:latin typeface="Arial" panose="020B0604020202020204" pitchFamily="34" charset="0"/>
                <a:cs typeface="Arial" panose="020B0604020202020204" pitchFamily="34" charset="0"/>
                <a:hlinkClick r:id="rId16"/>
              </a:rPr>
              <a:t>Charah</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6"/>
              </a:rPr>
              <a:t> Solutions</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TribLive</a:t>
            </a: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Article on Demolition and Redevelopment</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err="1">
                <a:ln>
                  <a:noFill/>
                </a:ln>
                <a:solidFill>
                  <a:schemeClr val="tx1"/>
                </a:solidFill>
                <a:effectLst/>
                <a:latin typeface="Arial" panose="020B0604020202020204" pitchFamily="34" charset="0"/>
                <a:cs typeface="Arial" panose="020B0604020202020204" pitchFamily="34" charset="0"/>
                <a:hlinkClick r:id="rId17"/>
              </a:rPr>
              <a:t>TribLive</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endPar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7. Titus Station Power Plant (Berks County)</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PA DCED Redevelopment Playbook</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8"/>
              </a:rPr>
              <a:t>PA DCED</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Yahoo News on Rail Terminal Reopening</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19"/>
              </a:rPr>
              <a:t>Yahoo</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Ground News Article on Transformation Project</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20"/>
              </a:rPr>
              <a:t>Ground News</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Additional Resources</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Coal-Fired Power Plant Redevelopment Playbooks (PA DCED)</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21"/>
              </a:rPr>
              <a:t>PA DCED</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PNNL Report on Energy-Related Redevelopment Options</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22"/>
              </a:rPr>
              <a:t>PNNL</a:t>
            </a:r>
            <a:endPar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sz="11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EPA Superfund Sites in Reuse in Pennsylvania</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noProof="0">
                <a:ln>
                  <a:noFill/>
                </a:ln>
                <a:solidFill>
                  <a:schemeClr val="tx1"/>
                </a:solidFill>
                <a:effectLst/>
                <a:latin typeface="Arial" panose="020B0604020202020204" pitchFamily="34" charset="0"/>
                <a:cs typeface="Arial" panose="020B0604020202020204" pitchFamily="34" charset="0"/>
                <a:hlinkClick r:id="rId23"/>
              </a:rPr>
              <a:t>US EPA</a:t>
            </a:r>
            <a:endParaRPr lang="en-US" sz="1100" noProof="0"/>
          </a:p>
        </p:txBody>
      </p:sp>
      <p:pic>
        <p:nvPicPr>
          <p:cNvPr id="3" name="Picture 2" descr="A close-up of blue text&#10;&#10;AI-generated content may be incorrect.">
            <a:extLst>
              <a:ext uri="{FF2B5EF4-FFF2-40B4-BE49-F238E27FC236}">
                <a16:creationId xmlns:a16="http://schemas.microsoft.com/office/drawing/2014/main" id="{8DF0CDE8-C543-D2DF-EE26-F07B749D3B74}"/>
              </a:ext>
            </a:extLst>
          </p:cNvPr>
          <p:cNvPicPr>
            <a:picLocks noChangeAspect="1"/>
          </p:cNvPicPr>
          <p:nvPr/>
        </p:nvPicPr>
        <p:blipFill>
          <a:blip r:embed="rId24"/>
          <a:stretch>
            <a:fillRect/>
          </a:stretch>
        </p:blipFill>
        <p:spPr>
          <a:xfrm>
            <a:off x="7801586" y="5979638"/>
            <a:ext cx="4666600" cy="1120163"/>
          </a:xfrm>
          <a:prstGeom prst="rect">
            <a:avLst/>
          </a:prstGeom>
        </p:spPr>
      </p:pic>
      <p:sp>
        <p:nvSpPr>
          <p:cNvPr id="4" name="Slide Number Placeholder 23">
            <a:extLst>
              <a:ext uri="{FF2B5EF4-FFF2-40B4-BE49-F238E27FC236}">
                <a16:creationId xmlns:a16="http://schemas.microsoft.com/office/drawing/2014/main" id="{87EB59CC-1EE4-6E07-3A46-5470ADBDA1E9}"/>
              </a:ext>
            </a:extLst>
          </p:cNvPr>
          <p:cNvSpPr txBox="1">
            <a:spLocks/>
          </p:cNvSpPr>
          <p:nvPr/>
        </p:nvSpPr>
        <p:spPr>
          <a:xfrm>
            <a:off x="11735947" y="6450345"/>
            <a:ext cx="45605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41</a:t>
            </a:fld>
            <a:endParaRPr lang="en-US" b="1" noProof="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3669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B6DF7-3176-2E10-91BE-A8779D2725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9E5F9E2-5977-0F39-2B43-1BCE014CF620}"/>
              </a:ext>
            </a:extLst>
          </p:cNvPr>
          <p:cNvSpPr txBox="1">
            <a:spLocks/>
          </p:cNvSpPr>
          <p:nvPr/>
        </p:nvSpPr>
        <p:spPr>
          <a:xfrm>
            <a:off x="670850" y="109076"/>
            <a:ext cx="7251624" cy="624454"/>
          </a:xfrm>
          <a:prstGeom prst="rect">
            <a:avLst/>
          </a:prstGeom>
        </p:spPr>
        <p:txBody>
          <a:bodyPr vert="horz" lIns="0" tIns="45720" rIns="0" bIns="45720" rtlCol="0">
            <a:noAutofit/>
          </a:bodyPr>
          <a:lstStyle>
            <a:lvl1pPr marL="0" indent="0" algn="l" defTabSz="914400" rtl="0" eaLnBrk="1" latinLnBrk="0" hangingPunct="1">
              <a:lnSpc>
                <a:spcPct val="90000"/>
              </a:lnSpc>
              <a:spcBef>
                <a:spcPts val="1000"/>
              </a:spcBef>
              <a:buClr>
                <a:schemeClr val="accent1"/>
              </a:buClr>
              <a:buFontTx/>
              <a:buNone/>
              <a:defRPr sz="4000" b="1" kern="1200">
                <a:solidFill>
                  <a:schemeClr val="accent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Tx/>
              <a:buNone/>
              <a:defRPr sz="2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Tx/>
              <a:buNone/>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Tx/>
              <a:buNone/>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3200"/>
              <a:t>References</a:t>
            </a:r>
          </a:p>
        </p:txBody>
      </p:sp>
      <p:pic>
        <p:nvPicPr>
          <p:cNvPr id="4" name="Picture 3" descr="A close-up of blue text&#10;&#10;AI-generated content may be incorrect.">
            <a:extLst>
              <a:ext uri="{FF2B5EF4-FFF2-40B4-BE49-F238E27FC236}">
                <a16:creationId xmlns:a16="http://schemas.microsoft.com/office/drawing/2014/main" id="{BB6B9842-2F5B-4772-2D59-C427B4C9BA7E}"/>
              </a:ext>
            </a:extLst>
          </p:cNvPr>
          <p:cNvPicPr>
            <a:picLocks noChangeAspect="1"/>
          </p:cNvPicPr>
          <p:nvPr/>
        </p:nvPicPr>
        <p:blipFill>
          <a:blip r:embed="rId2"/>
          <a:stretch>
            <a:fillRect/>
          </a:stretch>
        </p:blipFill>
        <p:spPr>
          <a:xfrm>
            <a:off x="7801586" y="5979638"/>
            <a:ext cx="4666600" cy="1120163"/>
          </a:xfrm>
          <a:prstGeom prst="rect">
            <a:avLst/>
          </a:prstGeom>
        </p:spPr>
      </p:pic>
      <p:sp>
        <p:nvSpPr>
          <p:cNvPr id="6" name="Slide Number Placeholder 23">
            <a:extLst>
              <a:ext uri="{FF2B5EF4-FFF2-40B4-BE49-F238E27FC236}">
                <a16:creationId xmlns:a16="http://schemas.microsoft.com/office/drawing/2014/main" id="{0FCC8061-F3E7-041F-B39A-DF1033B539D1}"/>
              </a:ext>
            </a:extLst>
          </p:cNvPr>
          <p:cNvSpPr txBox="1">
            <a:spLocks/>
          </p:cNvSpPr>
          <p:nvPr/>
        </p:nvSpPr>
        <p:spPr>
          <a:xfrm>
            <a:off x="11736020" y="6500213"/>
            <a:ext cx="45598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smtClean="0">
                <a:solidFill>
                  <a:schemeClr val="accent1"/>
                </a:solidFill>
                <a:latin typeface="Arial" panose="020B0604020202020204" pitchFamily="34" charset="0"/>
                <a:cs typeface="Arial" panose="020B0604020202020204" pitchFamily="34" charset="0"/>
              </a:rPr>
              <a:pPr/>
              <a:t>42</a:t>
            </a:fld>
            <a:endParaRPr lang="en-US" b="1">
              <a:solidFill>
                <a:schemeClr val="accent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19E3188-5F4A-9748-13B7-170229A1BEF3}"/>
              </a:ext>
            </a:extLst>
          </p:cNvPr>
          <p:cNvSpPr txBox="1"/>
          <p:nvPr/>
        </p:nvSpPr>
        <p:spPr>
          <a:xfrm>
            <a:off x="670850" y="1234440"/>
            <a:ext cx="10850300" cy="4772717"/>
          </a:xfrm>
          <a:prstGeom prst="rect">
            <a:avLst/>
          </a:prstGeom>
          <a:noFill/>
        </p:spPr>
        <p:txBody>
          <a:bodyPr wrap="square" rtlCol="0">
            <a:spAutoFit/>
          </a:bodyPr>
          <a:lstStyle/>
          <a:p>
            <a:pPr marL="342900" indent="-342900">
              <a:lnSpc>
                <a:spcPct val="150000"/>
              </a:lnSpc>
              <a:buFont typeface="+mj-lt"/>
              <a:buAutoNum type="alphaLcParenR"/>
            </a:pPr>
            <a:r>
              <a:rPr lang="en-US" sz="1200"/>
              <a:t>H Quest. (n.d.). </a:t>
            </a:r>
            <a:r>
              <a:rPr lang="en-US" sz="1200" i="1"/>
              <a:t>Decarbonizing natural gas at the point of use</a:t>
            </a:r>
            <a:r>
              <a:rPr lang="en-US" sz="1200"/>
              <a:t>. Retrieved June 1, 2025, from </a:t>
            </a:r>
            <a:r>
              <a:rPr lang="en-US" sz="1200">
                <a:hlinkClick r:id="rId3"/>
              </a:rPr>
              <a:t>https://www.h-quest.com/</a:t>
            </a:r>
            <a:r>
              <a:rPr lang="en-US" sz="1200"/>
              <a:t> </a:t>
            </a:r>
            <a:endParaRPr lang="en-IN" sz="1200"/>
          </a:p>
          <a:p>
            <a:pPr marL="342900" indent="-342900">
              <a:lnSpc>
                <a:spcPct val="150000"/>
              </a:lnSpc>
              <a:buFont typeface="+mj-lt"/>
              <a:buAutoNum type="alphaLcParenR"/>
            </a:pPr>
            <a:r>
              <a:rPr lang="en-US" sz="1200"/>
              <a:t>U.S. Department of Energy, Office of Energy Efficiency &amp; Renewable Energy. (2023). </a:t>
            </a:r>
            <a:r>
              <a:rPr lang="en-US" sz="1200" i="1"/>
              <a:t>U.S. national clean hydrogen strategy and roadmap (draft)</a:t>
            </a:r>
            <a:r>
              <a:rPr lang="en-US" sz="1200"/>
              <a:t>. Retrieved from </a:t>
            </a:r>
            <a:r>
              <a:rPr lang="en-US" sz="1200">
                <a:hlinkClick r:id="rId4"/>
              </a:rPr>
              <a:t>https://www.energy.gov/eere/fuelcells/us-national-clean-hydrogen-strategy-and-roadmap</a:t>
            </a:r>
            <a:r>
              <a:rPr lang="en-US" sz="1200"/>
              <a:t> </a:t>
            </a:r>
          </a:p>
          <a:p>
            <a:pPr marL="342900" indent="-342900">
              <a:lnSpc>
                <a:spcPct val="150000"/>
              </a:lnSpc>
              <a:buFont typeface="+mj-lt"/>
              <a:buAutoNum type="alphaLcParenR"/>
            </a:pPr>
            <a:r>
              <a:rPr lang="en-US" sz="1200"/>
              <a:t>Pennsylvania Department of Community &amp; Economic Development. (n.d.). </a:t>
            </a:r>
            <a:r>
              <a:rPr lang="en-US" sz="1200" i="1"/>
              <a:t>Mitchell Power Station – Decommissioning &amp; Redevelopment Playbook</a:t>
            </a:r>
            <a:r>
              <a:rPr lang="en-US" sz="1200"/>
              <a:t>. Retrieved from </a:t>
            </a:r>
            <a:r>
              <a:rPr lang="en-US" sz="1200">
                <a:hlinkClick r:id="rId5"/>
              </a:rPr>
              <a:t>https://dced.pa.gov/programs-funding/coal-plant-redevelopment-playbooks/mitchell-power-station/</a:t>
            </a:r>
            <a:r>
              <a:rPr lang="en-US" sz="1200"/>
              <a:t> </a:t>
            </a:r>
          </a:p>
          <a:p>
            <a:pPr marL="342900" indent="-342900">
              <a:lnSpc>
                <a:spcPct val="150000"/>
              </a:lnSpc>
              <a:buFont typeface="+mj-lt"/>
              <a:buAutoNum type="alphaLcParenR"/>
            </a:pPr>
            <a:r>
              <a:rPr lang="en-US" sz="1200"/>
              <a:t>Slide 11 - Virginia Economic Development Partnership. (n.d.). </a:t>
            </a:r>
            <a:r>
              <a:rPr lang="en-US" sz="1200" i="1"/>
              <a:t>Data centers: Virginia’s competitive advantage</a:t>
            </a:r>
            <a:r>
              <a:rPr lang="en-US" sz="1200"/>
              <a:t>. Retrieved from </a:t>
            </a:r>
            <a:r>
              <a:rPr lang="en-US" sz="1200">
                <a:hlinkClick r:id="rId6"/>
              </a:rPr>
              <a:t>https://www.vedp.org/industry/data-centers</a:t>
            </a:r>
            <a:r>
              <a:rPr lang="en-US" sz="1200"/>
              <a:t> </a:t>
            </a:r>
          </a:p>
          <a:p>
            <a:pPr marL="342900" indent="-342900">
              <a:lnSpc>
                <a:spcPct val="150000"/>
              </a:lnSpc>
              <a:buFont typeface="+mj-lt"/>
              <a:buAutoNum type="alphaLcParenR"/>
            </a:pPr>
            <a:r>
              <a:rPr lang="en-US" sz="1200"/>
              <a:t>Tariff and Rate structure - Pennsylvania Public Utility Commission. (n.d.). </a:t>
            </a:r>
            <a:r>
              <a:rPr lang="en-US" sz="1200" i="1"/>
              <a:t>Natural gas tariffs – Filing resources</a:t>
            </a:r>
            <a:r>
              <a:rPr lang="en-US" sz="1200"/>
              <a:t>. Retrieved from </a:t>
            </a:r>
            <a:r>
              <a:rPr lang="en-US" sz="1200">
                <a:hlinkClick r:id="rId7"/>
              </a:rPr>
              <a:t>https://www.puc.pa.gov/filing-resources/tariffs/natural-gas-tariffs/</a:t>
            </a:r>
            <a:endParaRPr lang="en-US" sz="1200"/>
          </a:p>
          <a:p>
            <a:pPr marL="342900" indent="-342900">
              <a:lnSpc>
                <a:spcPct val="150000"/>
              </a:lnSpc>
              <a:buFont typeface="+mj-lt"/>
              <a:buAutoNum type="alphaLcParenR"/>
            </a:pPr>
            <a:r>
              <a:rPr lang="en-US" sz="1200"/>
              <a:t>Dominion Energy Virginia. (2025, April 1). </a:t>
            </a:r>
            <a:r>
              <a:rPr lang="en-US" sz="1200" i="1"/>
              <a:t>Dominion Energy Virginia proposes new rates to continue delivering reliable service and increasingly clean energy</a:t>
            </a:r>
            <a:r>
              <a:rPr lang="en-US" sz="1200"/>
              <a:t> [Press release]. Retrieved from </a:t>
            </a:r>
            <a:r>
              <a:rPr lang="en-US" sz="1200">
                <a:hlinkClick r:id="rId8"/>
              </a:rPr>
              <a:t>https://news.dominionenergy.com</a:t>
            </a:r>
            <a:r>
              <a:rPr lang="en-US" sz="1200"/>
              <a:t> </a:t>
            </a:r>
          </a:p>
          <a:p>
            <a:pPr marL="342900" indent="-342900">
              <a:lnSpc>
                <a:spcPct val="150000"/>
              </a:lnSpc>
              <a:buFont typeface="+mj-lt"/>
              <a:buAutoNum type="alphaLcParenR"/>
            </a:pPr>
            <a:r>
              <a:rPr lang="en-US" sz="1200"/>
              <a:t>Elias, M. (2025, March 18). </a:t>
            </a:r>
            <a:r>
              <a:rPr lang="en-US" sz="1200" i="1"/>
              <a:t>Data centers, generative AI &amp; power constraints: The path forward</a:t>
            </a:r>
            <a:r>
              <a:rPr lang="en-US" sz="1200"/>
              <a:t> [Presentation at Pennsylvania Data Center &amp; Energy Summit]. Pittsburgh Technology Council </a:t>
            </a:r>
          </a:p>
          <a:p>
            <a:pPr marL="342900" indent="-342900">
              <a:lnSpc>
                <a:spcPct val="150000"/>
              </a:lnSpc>
              <a:buFont typeface="+mj-lt"/>
              <a:buAutoNum type="alphaLcParenR"/>
            </a:pPr>
            <a:r>
              <a:rPr lang="en-US" sz="1200"/>
              <a:t>Federal Communications Commission. (n.d.). </a:t>
            </a:r>
            <a:r>
              <a:rPr lang="en-US" sz="1200" i="1"/>
              <a:t>National Broadband Map</a:t>
            </a:r>
            <a:r>
              <a:rPr lang="en-US" sz="1200"/>
              <a:t>. Retrieved from </a:t>
            </a:r>
            <a:r>
              <a:rPr lang="en-US" sz="1200">
                <a:hlinkClick r:id="rId9"/>
              </a:rPr>
              <a:t>https://broadbandmap.fcc.gov/</a:t>
            </a:r>
            <a:r>
              <a:rPr lang="en-US" sz="1200"/>
              <a:t> </a:t>
            </a:r>
          </a:p>
          <a:p>
            <a:pPr marL="342900" indent="-342900">
              <a:lnSpc>
                <a:spcPct val="150000"/>
              </a:lnSpc>
              <a:buFont typeface="+mj-lt"/>
              <a:buAutoNum type="alphaLcParenR"/>
            </a:pPr>
            <a:r>
              <a:rPr lang="en-US" sz="1200" err="1"/>
              <a:t>GHGSat</a:t>
            </a:r>
            <a:r>
              <a:rPr lang="en-US" sz="1200"/>
              <a:t>. (n.d.). </a:t>
            </a:r>
            <a:r>
              <a:rPr lang="en-US" sz="1200" err="1"/>
              <a:t>GHGSat</a:t>
            </a:r>
            <a:r>
              <a:rPr lang="en-US" sz="1200"/>
              <a:t> greenhouse gas monitoring. Retrieved from </a:t>
            </a:r>
            <a:r>
              <a:rPr lang="en-US" sz="1200">
                <a:hlinkClick r:id="rId10"/>
              </a:rPr>
              <a:t>https://www.ghgsat.com/</a:t>
            </a:r>
            <a:r>
              <a:rPr lang="en-US" sz="1200"/>
              <a:t> </a:t>
            </a:r>
          </a:p>
          <a:p>
            <a:pPr marL="342900" indent="-342900">
              <a:lnSpc>
                <a:spcPct val="150000"/>
              </a:lnSpc>
              <a:buFont typeface="+mj-lt"/>
              <a:buAutoNum type="alphaLcParenR"/>
            </a:pPr>
            <a:r>
              <a:rPr lang="en-US" sz="1200" err="1"/>
              <a:t>Kayrros</a:t>
            </a:r>
            <a:r>
              <a:rPr lang="en-US" sz="1200"/>
              <a:t>. (n.d.). Methane Watch. Retrieved from </a:t>
            </a:r>
            <a:r>
              <a:rPr lang="en-US" sz="1200">
                <a:hlinkClick r:id="rId11"/>
              </a:rPr>
              <a:t>https://methanewatch.kayrros.com/map</a:t>
            </a:r>
            <a:r>
              <a:rPr lang="en-US" sz="1200"/>
              <a:t> </a:t>
            </a:r>
          </a:p>
          <a:p>
            <a:pPr marL="342900" indent="-342900">
              <a:lnSpc>
                <a:spcPct val="150000"/>
              </a:lnSpc>
              <a:buFont typeface="+mj-lt"/>
              <a:buAutoNum type="alphaLcParenR"/>
            </a:pPr>
            <a:r>
              <a:rPr lang="en-US" sz="1200"/>
              <a:t>City of Philadelphia. (n.d.). Keystone Opportunity Zones (KOZ). Retrieved from </a:t>
            </a:r>
            <a:r>
              <a:rPr lang="en-US" sz="1200">
                <a:hlinkClick r:id="rId12"/>
              </a:rPr>
              <a:t>https://www.phila.gov/programs/keystone-opportunity-zones/</a:t>
            </a:r>
            <a:endParaRPr lang="en-US" sz="1200"/>
          </a:p>
        </p:txBody>
      </p:sp>
    </p:spTree>
    <p:extLst>
      <p:ext uri="{BB962C8B-B14F-4D97-AF65-F5344CB8AC3E}">
        <p14:creationId xmlns:p14="http://schemas.microsoft.com/office/powerpoint/2010/main" val="3771133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77C8EF-8894-054B-FCFF-8222AD5F2CF9}"/>
              </a:ext>
            </a:extLst>
          </p:cNvPr>
          <p:cNvSpPr/>
          <p:nvPr/>
        </p:nvSpPr>
        <p:spPr>
          <a:xfrm>
            <a:off x="592031" y="1105786"/>
            <a:ext cx="5395058" cy="2323214"/>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600" b="1" noProof="0">
                <a:solidFill>
                  <a:schemeClr val="accent1"/>
                </a:solidFill>
                <a:latin typeface="Arial"/>
                <a:cs typeface="Arial"/>
              </a:rPr>
              <a:t>Strengths</a:t>
            </a:r>
          </a:p>
          <a:p>
            <a:pPr marL="171450" indent="-171450">
              <a:buFont typeface="Arial" panose="020B0604020202020204" pitchFamily="34" charset="0"/>
              <a:buChar char="•"/>
            </a:pPr>
            <a:r>
              <a:rPr lang="en-US" sz="1200" noProof="0">
                <a:solidFill>
                  <a:schemeClr val="accent1"/>
                </a:solidFill>
                <a:latin typeface="Arial"/>
                <a:cs typeface="Arial"/>
              </a:rPr>
              <a:t>Innovative microwave plasma pyrolysis, low energy consumption, valuable carbon by-products.</a:t>
            </a:r>
            <a:endParaRPr lang="en-US" sz="1200" noProof="0">
              <a:solidFill>
                <a:schemeClr val="accent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noProof="0">
                <a:solidFill>
                  <a:schemeClr val="accent1"/>
                </a:solidFill>
                <a:latin typeface="Arial"/>
                <a:cs typeface="Arial"/>
              </a:rPr>
              <a:t>Produces "turquoise" hydrogen with zero CO2 emissions and reduced costing because of methane pyrolysis.</a:t>
            </a:r>
          </a:p>
          <a:p>
            <a:pPr marL="171450" indent="-171450">
              <a:buFont typeface="Arial" panose="020B0604020202020204" pitchFamily="34" charset="0"/>
              <a:buChar char="•"/>
            </a:pPr>
            <a:r>
              <a:rPr lang="en-US" sz="1200" noProof="0">
                <a:solidFill>
                  <a:schemeClr val="accent1"/>
                </a:solidFill>
                <a:latin typeface="Arial"/>
                <a:cs typeface="Arial"/>
              </a:rPr>
              <a:t>Large customer base across PA, WV, and KY with existing infrastructure.</a:t>
            </a:r>
          </a:p>
          <a:p>
            <a:pPr marL="171450" indent="-171450">
              <a:buFont typeface="Arial" panose="020B0604020202020204" pitchFamily="34" charset="0"/>
              <a:buChar char="•"/>
            </a:pPr>
            <a:r>
              <a:rPr lang="en-US" sz="1200" noProof="0">
                <a:solidFill>
                  <a:schemeClr val="accent1"/>
                </a:solidFill>
                <a:latin typeface="Arial"/>
                <a:cs typeface="Arial"/>
              </a:rPr>
              <a:t>Active pipeline modernization and safety compliance.</a:t>
            </a:r>
          </a:p>
          <a:p>
            <a:pPr marL="171450" indent="-171450">
              <a:buFont typeface="Arial" panose="020B0604020202020204" pitchFamily="34" charset="0"/>
              <a:buChar char="•"/>
            </a:pPr>
            <a:r>
              <a:rPr lang="en-US" sz="1200" noProof="0">
                <a:solidFill>
                  <a:schemeClr val="accent1"/>
                </a:solidFill>
                <a:latin typeface="Arial"/>
                <a:cs typeface="Arial"/>
              </a:rPr>
              <a:t>ESG commitments (60% GHG reduction by 2035).</a:t>
            </a:r>
          </a:p>
          <a:p>
            <a:pPr marL="171450" indent="-171450">
              <a:buFont typeface="Arial" panose="020B0604020202020204" pitchFamily="34" charset="0"/>
              <a:buChar char="•"/>
            </a:pPr>
            <a:r>
              <a:rPr lang="en-US" sz="1200" noProof="0">
                <a:solidFill>
                  <a:schemeClr val="accent1"/>
                </a:solidFill>
                <a:latin typeface="Arial"/>
                <a:cs typeface="Arial"/>
              </a:rPr>
              <a:t>Partnership with H Quest and University of Pittsburgh for innovation.</a:t>
            </a:r>
          </a:p>
        </p:txBody>
      </p:sp>
      <p:sp>
        <p:nvSpPr>
          <p:cNvPr id="7" name="Text Placeholder 1">
            <a:extLst>
              <a:ext uri="{FF2B5EF4-FFF2-40B4-BE49-F238E27FC236}">
                <a16:creationId xmlns:a16="http://schemas.microsoft.com/office/drawing/2014/main" id="{8D868062-862A-D98F-A6EA-78AE00764B7F}"/>
              </a:ext>
            </a:extLst>
          </p:cNvPr>
          <p:cNvSpPr>
            <a:spLocks noGrp="1"/>
          </p:cNvSpPr>
          <p:nvPr>
            <p:ph type="body" sz="quarter" idx="15"/>
          </p:nvPr>
        </p:nvSpPr>
        <p:spPr>
          <a:xfrm>
            <a:off x="592031" y="253988"/>
            <a:ext cx="10757719" cy="516626"/>
          </a:xfrm>
        </p:spPr>
        <p:txBody>
          <a:bodyPr>
            <a:noAutofit/>
          </a:bodyPr>
          <a:lstStyle/>
          <a:p>
            <a:pPr marL="0" indent="0">
              <a:lnSpc>
                <a:spcPct val="100000"/>
              </a:lnSpc>
              <a:buNone/>
            </a:pPr>
            <a:r>
              <a:rPr lang="en-US" sz="3200" b="1" noProof="0">
                <a:solidFill>
                  <a:schemeClr val="accent1"/>
                </a:solidFill>
              </a:rPr>
              <a:t>SWOT Analysis of Peoples Natural Gas and H Quest</a:t>
            </a:r>
          </a:p>
        </p:txBody>
      </p:sp>
      <p:sp>
        <p:nvSpPr>
          <p:cNvPr id="8" name="Rectangle 7">
            <a:extLst>
              <a:ext uri="{FF2B5EF4-FFF2-40B4-BE49-F238E27FC236}">
                <a16:creationId xmlns:a16="http://schemas.microsoft.com/office/drawing/2014/main" id="{71C5C00E-8D6A-55F1-17C2-84A2F798B9B9}"/>
              </a:ext>
            </a:extLst>
          </p:cNvPr>
          <p:cNvSpPr/>
          <p:nvPr/>
        </p:nvSpPr>
        <p:spPr>
          <a:xfrm>
            <a:off x="6204911" y="1105786"/>
            <a:ext cx="5395058" cy="2323214"/>
          </a:xfrm>
          <a:prstGeom prst="rect">
            <a:avLst/>
          </a:prstGeom>
          <a:solidFill>
            <a:srgbClr val="6EA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600" b="1" noProof="0">
                <a:solidFill>
                  <a:schemeClr val="accent1"/>
                </a:solidFill>
                <a:latin typeface="Arial" panose="020B0604020202020204" pitchFamily="34" charset="0"/>
                <a:cs typeface="Arial" panose="020B0604020202020204" pitchFamily="34" charset="0"/>
              </a:rPr>
              <a:t>Weaknesses</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Infrastructure limitations, pressure inconsistencies during blending, risk of leaks due to hydrogen's small molecular size.</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Long-term pipeline material degradation is still under evaluation — including risks like hydrogen embrittlement and corrosion over time</a:t>
            </a:r>
          </a:p>
          <a:p>
            <a:pPr marL="171450" indent="-171450">
              <a:buFont typeface="Arial" panose="020B0604020202020204" pitchFamily="34" charset="0"/>
              <a:buChar char="•"/>
            </a:pPr>
            <a:r>
              <a:rPr lang="en-US" sz="1200">
                <a:solidFill>
                  <a:schemeClr val="accent1"/>
                </a:solidFill>
                <a:latin typeface="Arial" panose="020B0604020202020204" pitchFamily="34" charset="0"/>
                <a:cs typeface="Arial" panose="020B0604020202020204" pitchFamily="34" charset="0"/>
              </a:rPr>
              <a:t>Operational challenges during blending include pressure fluctuations and potential impacts on flow stability</a:t>
            </a:r>
          </a:p>
          <a:p>
            <a:pPr marL="744538" indent="-169863">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Lack of current hydrogen-dedicated public outreach and pilot visibility.</a:t>
            </a:r>
          </a:p>
          <a:p>
            <a:pPr marL="744538"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Regulatory limitations under Section 1307(f).</a:t>
            </a:r>
          </a:p>
          <a:p>
            <a:pPr marL="744538"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Limited hydrogen expertise among staff; needs training programs.</a:t>
            </a:r>
          </a:p>
          <a:p>
            <a:pPr marL="171450" indent="-171450">
              <a:buFont typeface="Arial" panose="020B0604020202020204" pitchFamily="34" charset="0"/>
              <a:buChar char="•"/>
            </a:pPr>
            <a:endParaRPr lang="en-US" sz="1200" noProof="0">
              <a:solidFill>
                <a:schemeClr val="accent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10538BC-EEF9-F6FE-E77B-0793E6F88A89}"/>
              </a:ext>
            </a:extLst>
          </p:cNvPr>
          <p:cNvSpPr/>
          <p:nvPr/>
        </p:nvSpPr>
        <p:spPr>
          <a:xfrm>
            <a:off x="592031" y="3597349"/>
            <a:ext cx="5395058" cy="2323214"/>
          </a:xfrm>
          <a:prstGeom prst="rect">
            <a:avLst/>
          </a:prstGeom>
          <a:solidFill>
            <a:srgbClr val="FFE3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600" b="1" noProof="0">
                <a:solidFill>
                  <a:schemeClr val="accent1"/>
                </a:solidFill>
                <a:latin typeface="Arial" panose="020B0604020202020204" pitchFamily="34" charset="0"/>
                <a:cs typeface="Arial" panose="020B0604020202020204" pitchFamily="34" charset="0"/>
              </a:rPr>
              <a:t>Opportunities</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Establish leadership in hydrogen blending within the Northeast.</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Monetize carbon by-products from turquoise hydrogen.</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Participate in hydrogen hubs and state-funded decarbonization projects.</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Leverage existing smart meter rollouts and leak detection upgrades for hydrogen monitoring.</a:t>
            </a:r>
          </a:p>
        </p:txBody>
      </p:sp>
      <p:sp>
        <p:nvSpPr>
          <p:cNvPr id="10" name="Rectangle 9">
            <a:extLst>
              <a:ext uri="{FF2B5EF4-FFF2-40B4-BE49-F238E27FC236}">
                <a16:creationId xmlns:a16="http://schemas.microsoft.com/office/drawing/2014/main" id="{CD813D0D-507A-0AAB-1132-248A5844FA57}"/>
              </a:ext>
            </a:extLst>
          </p:cNvPr>
          <p:cNvSpPr/>
          <p:nvPr/>
        </p:nvSpPr>
        <p:spPr>
          <a:xfrm>
            <a:off x="6204911" y="3597349"/>
            <a:ext cx="5395058" cy="2323214"/>
          </a:xfrm>
          <a:prstGeom prst="rect">
            <a:avLst/>
          </a:prstGeom>
          <a:solidFill>
            <a:srgbClr val="E7C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600" b="1" noProof="0">
                <a:solidFill>
                  <a:schemeClr val="accent1"/>
                </a:solidFill>
                <a:latin typeface="Arial" panose="020B0604020202020204" pitchFamily="34" charset="0"/>
                <a:cs typeface="Arial" panose="020B0604020202020204" pitchFamily="34" charset="0"/>
              </a:rPr>
              <a:t>Threats</a:t>
            </a:r>
            <a:endParaRPr lang="en-US" sz="1200" b="1" noProof="0">
              <a:solidFill>
                <a:schemeClr val="accent1"/>
              </a:solidFill>
              <a:latin typeface="Arial" panose="020B0604020202020204" pitchFamily="34" charset="0"/>
              <a:cs typeface="Arial" panose="020B0604020202020204" pitchFamily="34" charset="0"/>
            </a:endParaRPr>
          </a:p>
          <a:p>
            <a:pPr marL="627063" indent="-117475">
              <a:buFont typeface="Arial" panose="020B0604020202020204" pitchFamily="34" charset="0"/>
              <a:buChar char="•"/>
              <a:tabLst>
                <a:tab pos="627063" algn="l"/>
              </a:tabLst>
            </a:pPr>
            <a:r>
              <a:rPr lang="en-US" sz="1200" noProof="0">
                <a:solidFill>
                  <a:schemeClr val="accent1"/>
                </a:solidFill>
                <a:latin typeface="Arial" panose="020B0604020202020204" pitchFamily="34" charset="0"/>
                <a:cs typeface="Arial" panose="020B0604020202020204" pitchFamily="34" charset="0"/>
              </a:rPr>
              <a:t>Flammability risk, evolving regulations.</a:t>
            </a:r>
          </a:p>
          <a:p>
            <a:pPr marL="627063" indent="-117475">
              <a:buFont typeface="Arial" panose="020B0604020202020204" pitchFamily="34" charset="0"/>
              <a:buChar char="•"/>
              <a:tabLst>
                <a:tab pos="627063" algn="l"/>
              </a:tabLst>
            </a:pPr>
            <a:r>
              <a:rPr lang="en-US" sz="1200" noProof="0">
                <a:solidFill>
                  <a:schemeClr val="accent1"/>
                </a:solidFill>
                <a:latin typeface="Arial" panose="020B0604020202020204" pitchFamily="34" charset="0"/>
                <a:cs typeface="Arial" panose="020B0604020202020204" pitchFamily="34" charset="0"/>
              </a:rPr>
              <a:t>Competitor utilities progressing faster; risk of losing innovation leadership.</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Regulatory pushback or lack of policy support for hydrogen cost recovery.</a:t>
            </a:r>
          </a:p>
          <a:p>
            <a:pPr marL="171450" indent="-171450">
              <a:buFont typeface="Arial" panose="020B0604020202020204" pitchFamily="34" charset="0"/>
              <a:buChar char="•"/>
            </a:pPr>
            <a:r>
              <a:rPr lang="en-US" sz="1200" noProof="0">
                <a:solidFill>
                  <a:schemeClr val="accent1"/>
                </a:solidFill>
                <a:latin typeface="Arial" panose="020B0604020202020204" pitchFamily="34" charset="0"/>
                <a:cs typeface="Arial" panose="020B0604020202020204" pitchFamily="34" charset="0"/>
              </a:rPr>
              <a:t>Public skepticism about hydrogen safety without transparent engagement.</a:t>
            </a:r>
          </a:p>
        </p:txBody>
      </p:sp>
      <p:sp>
        <p:nvSpPr>
          <p:cNvPr id="11" name="Right Triangle 10">
            <a:extLst>
              <a:ext uri="{FF2B5EF4-FFF2-40B4-BE49-F238E27FC236}">
                <a16:creationId xmlns:a16="http://schemas.microsoft.com/office/drawing/2014/main" id="{4C03D9F5-9297-F876-2185-77A14296A426}"/>
              </a:ext>
            </a:extLst>
          </p:cNvPr>
          <p:cNvSpPr/>
          <p:nvPr/>
        </p:nvSpPr>
        <p:spPr>
          <a:xfrm>
            <a:off x="6209413" y="2429608"/>
            <a:ext cx="1005840" cy="1004777"/>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ight Triangle 11">
            <a:extLst>
              <a:ext uri="{FF2B5EF4-FFF2-40B4-BE49-F238E27FC236}">
                <a16:creationId xmlns:a16="http://schemas.microsoft.com/office/drawing/2014/main" id="{C1BB6F1B-198C-53DD-4F3D-A17379E8A381}"/>
              </a:ext>
            </a:extLst>
          </p:cNvPr>
          <p:cNvSpPr/>
          <p:nvPr/>
        </p:nvSpPr>
        <p:spPr>
          <a:xfrm rot="5400000">
            <a:off x="6204379" y="3592633"/>
            <a:ext cx="1005840" cy="1004777"/>
          </a:xfrm>
          <a:prstGeom prst="r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ight Triangle 12">
            <a:extLst>
              <a:ext uri="{FF2B5EF4-FFF2-40B4-BE49-F238E27FC236}">
                <a16:creationId xmlns:a16="http://schemas.microsoft.com/office/drawing/2014/main" id="{B70B61AA-EADA-62E0-2538-7EA539751A0A}"/>
              </a:ext>
            </a:extLst>
          </p:cNvPr>
          <p:cNvSpPr/>
          <p:nvPr/>
        </p:nvSpPr>
        <p:spPr>
          <a:xfrm rot="10800000">
            <a:off x="4975682" y="3597349"/>
            <a:ext cx="1005840" cy="1004777"/>
          </a:xfrm>
          <a:prstGeom prst="r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ight Triangle 13">
            <a:extLst>
              <a:ext uri="{FF2B5EF4-FFF2-40B4-BE49-F238E27FC236}">
                <a16:creationId xmlns:a16="http://schemas.microsoft.com/office/drawing/2014/main" id="{8BA27D98-FD7F-16E9-E7EE-252BB3E9C849}"/>
              </a:ext>
            </a:extLst>
          </p:cNvPr>
          <p:cNvSpPr/>
          <p:nvPr/>
        </p:nvSpPr>
        <p:spPr>
          <a:xfrm rot="16200000">
            <a:off x="4975649" y="2423691"/>
            <a:ext cx="1005840" cy="1004777"/>
          </a:xfrm>
          <a:prstGeom prst="r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TextBox 14">
            <a:extLst>
              <a:ext uri="{FF2B5EF4-FFF2-40B4-BE49-F238E27FC236}">
                <a16:creationId xmlns:a16="http://schemas.microsoft.com/office/drawing/2014/main" id="{3671F5F2-CFFC-F2A9-2310-D6A63416A000}"/>
              </a:ext>
            </a:extLst>
          </p:cNvPr>
          <p:cNvSpPr txBox="1"/>
          <p:nvPr/>
        </p:nvSpPr>
        <p:spPr>
          <a:xfrm>
            <a:off x="5481779" y="2845578"/>
            <a:ext cx="435934" cy="646331"/>
          </a:xfrm>
          <a:prstGeom prst="rect">
            <a:avLst/>
          </a:prstGeom>
          <a:noFill/>
        </p:spPr>
        <p:txBody>
          <a:bodyPr wrap="square" rtlCol="0">
            <a:spAutoFit/>
          </a:bodyPr>
          <a:lstStyle/>
          <a:p>
            <a:r>
              <a:rPr lang="en-US" sz="3600" b="1" noProof="0">
                <a:solidFill>
                  <a:schemeClr val="bg1"/>
                </a:solidFill>
                <a:latin typeface="Arial" panose="020B0604020202020204" pitchFamily="34" charset="0"/>
                <a:cs typeface="Arial" panose="020B0604020202020204" pitchFamily="34" charset="0"/>
              </a:rPr>
              <a:t>S</a:t>
            </a:r>
          </a:p>
        </p:txBody>
      </p:sp>
      <p:sp>
        <p:nvSpPr>
          <p:cNvPr id="16" name="TextBox 15">
            <a:extLst>
              <a:ext uri="{FF2B5EF4-FFF2-40B4-BE49-F238E27FC236}">
                <a16:creationId xmlns:a16="http://schemas.microsoft.com/office/drawing/2014/main" id="{0723FC0F-C5A6-DFD2-0775-867A51EA22D1}"/>
              </a:ext>
            </a:extLst>
          </p:cNvPr>
          <p:cNvSpPr txBox="1"/>
          <p:nvPr/>
        </p:nvSpPr>
        <p:spPr>
          <a:xfrm>
            <a:off x="6198780" y="2861527"/>
            <a:ext cx="435934" cy="646331"/>
          </a:xfrm>
          <a:prstGeom prst="rect">
            <a:avLst/>
          </a:prstGeom>
          <a:noFill/>
        </p:spPr>
        <p:txBody>
          <a:bodyPr wrap="square" rtlCol="0">
            <a:spAutoFit/>
          </a:bodyPr>
          <a:lstStyle/>
          <a:p>
            <a:r>
              <a:rPr lang="en-US" sz="3600" b="1" noProof="0">
                <a:solidFill>
                  <a:schemeClr val="bg1"/>
                </a:solidFill>
                <a:latin typeface="Arial" panose="020B0604020202020204" pitchFamily="34" charset="0"/>
                <a:cs typeface="Arial" panose="020B0604020202020204" pitchFamily="34" charset="0"/>
              </a:rPr>
              <a:t>W</a:t>
            </a:r>
          </a:p>
        </p:txBody>
      </p:sp>
      <p:sp>
        <p:nvSpPr>
          <p:cNvPr id="17" name="TextBox 16">
            <a:extLst>
              <a:ext uri="{FF2B5EF4-FFF2-40B4-BE49-F238E27FC236}">
                <a16:creationId xmlns:a16="http://schemas.microsoft.com/office/drawing/2014/main" id="{29E7BCE8-3351-D703-AC3E-CC109827190E}"/>
              </a:ext>
            </a:extLst>
          </p:cNvPr>
          <p:cNvSpPr txBox="1"/>
          <p:nvPr/>
        </p:nvSpPr>
        <p:spPr>
          <a:xfrm>
            <a:off x="5478569" y="3558733"/>
            <a:ext cx="435934" cy="646331"/>
          </a:xfrm>
          <a:prstGeom prst="rect">
            <a:avLst/>
          </a:prstGeom>
          <a:noFill/>
        </p:spPr>
        <p:txBody>
          <a:bodyPr wrap="square" rtlCol="0">
            <a:spAutoFit/>
          </a:bodyPr>
          <a:lstStyle/>
          <a:p>
            <a:r>
              <a:rPr lang="en-US" sz="3600" b="1" noProof="0">
                <a:solidFill>
                  <a:schemeClr val="bg1"/>
                </a:solidFill>
                <a:latin typeface="Arial" panose="020B0604020202020204" pitchFamily="34" charset="0"/>
                <a:cs typeface="Arial" panose="020B0604020202020204" pitchFamily="34" charset="0"/>
              </a:rPr>
              <a:t>O</a:t>
            </a:r>
          </a:p>
        </p:txBody>
      </p:sp>
      <p:sp>
        <p:nvSpPr>
          <p:cNvPr id="18" name="TextBox 17">
            <a:extLst>
              <a:ext uri="{FF2B5EF4-FFF2-40B4-BE49-F238E27FC236}">
                <a16:creationId xmlns:a16="http://schemas.microsoft.com/office/drawing/2014/main" id="{7E5BE5C9-11A9-F297-81F7-BBC46AC80B44}"/>
              </a:ext>
            </a:extLst>
          </p:cNvPr>
          <p:cNvSpPr txBox="1"/>
          <p:nvPr/>
        </p:nvSpPr>
        <p:spPr>
          <a:xfrm>
            <a:off x="6209413" y="3597349"/>
            <a:ext cx="435934" cy="646331"/>
          </a:xfrm>
          <a:prstGeom prst="rect">
            <a:avLst/>
          </a:prstGeom>
          <a:noFill/>
        </p:spPr>
        <p:txBody>
          <a:bodyPr wrap="square" rtlCol="0">
            <a:spAutoFit/>
          </a:bodyPr>
          <a:lstStyle/>
          <a:p>
            <a:r>
              <a:rPr lang="en-US" sz="3600" b="1" noProof="0">
                <a:solidFill>
                  <a:schemeClr val="bg1"/>
                </a:solidFill>
                <a:latin typeface="Arial" panose="020B0604020202020204" pitchFamily="34" charset="0"/>
                <a:cs typeface="Arial" panose="020B0604020202020204" pitchFamily="34" charset="0"/>
              </a:rPr>
              <a:t>T</a:t>
            </a:r>
          </a:p>
        </p:txBody>
      </p:sp>
      <p:sp>
        <p:nvSpPr>
          <p:cNvPr id="20" name="Slide Number Placeholder 23">
            <a:extLst>
              <a:ext uri="{FF2B5EF4-FFF2-40B4-BE49-F238E27FC236}">
                <a16:creationId xmlns:a16="http://schemas.microsoft.com/office/drawing/2014/main" id="{69A4025D-CF66-83E8-283E-025C69F79C64}"/>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5</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B7DAAAA8-8F46-C4CF-7E26-F36A2F921C42}"/>
              </a:ext>
            </a:extLst>
          </p:cNvPr>
          <p:cNvGraphicFramePr/>
          <p:nvPr>
            <p:extLst>
              <p:ext uri="{D42A27DB-BD31-4B8C-83A1-F6EECF244321}">
                <p14:modId xmlns:p14="http://schemas.microsoft.com/office/powerpoint/2010/main" val="4126938866"/>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A close-up of blue text&#10;&#10;AI-generated content may be incorrect.">
            <a:extLst>
              <a:ext uri="{FF2B5EF4-FFF2-40B4-BE49-F238E27FC236}">
                <a16:creationId xmlns:a16="http://schemas.microsoft.com/office/drawing/2014/main" id="{CD8B09CD-D449-28D4-F91B-2A915EED9F9F}"/>
              </a:ext>
            </a:extLst>
          </p:cNvPr>
          <p:cNvPicPr>
            <a:picLocks noChangeAspect="1"/>
          </p:cNvPicPr>
          <p:nvPr/>
        </p:nvPicPr>
        <p:blipFill>
          <a:blip r:embed="rId7"/>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342884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P spid="14" grpId="0" animBg="1"/>
      <p:bldP spid="15" grpId="0"/>
      <p:bldP spid="16"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251C8-0FF1-3FB2-7BA2-515E338E5AD8}"/>
            </a:ext>
          </a:extLst>
        </p:cNvPr>
        <p:cNvGrpSpPr/>
        <p:nvPr/>
      </p:nvGrpSpPr>
      <p:grpSpPr>
        <a:xfrm>
          <a:off x="0" y="0"/>
          <a:ext cx="0" cy="0"/>
          <a:chOff x="0" y="0"/>
          <a:chExt cx="0" cy="0"/>
        </a:xfrm>
      </p:grpSpPr>
      <p:graphicFrame>
        <p:nvGraphicFramePr>
          <p:cNvPr id="25" name="Diagram 24">
            <a:extLst>
              <a:ext uri="{FF2B5EF4-FFF2-40B4-BE49-F238E27FC236}">
                <a16:creationId xmlns:a16="http://schemas.microsoft.com/office/drawing/2014/main" id="{798DD113-08BC-0766-C17D-46C52E4F4667}"/>
              </a:ext>
            </a:extLst>
          </p:cNvPr>
          <p:cNvGraphicFramePr/>
          <p:nvPr>
            <p:extLst>
              <p:ext uri="{D42A27DB-BD31-4B8C-83A1-F6EECF244321}">
                <p14:modId xmlns:p14="http://schemas.microsoft.com/office/powerpoint/2010/main" val="3810962321"/>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1">
            <a:extLst>
              <a:ext uri="{FF2B5EF4-FFF2-40B4-BE49-F238E27FC236}">
                <a16:creationId xmlns:a16="http://schemas.microsoft.com/office/drawing/2014/main" id="{579525A3-BF39-2FEA-D897-75A3C8C974CF}"/>
              </a:ext>
            </a:extLst>
          </p:cNvPr>
          <p:cNvSpPr>
            <a:spLocks noGrp="1"/>
          </p:cNvSpPr>
          <p:nvPr>
            <p:ph type="body" sz="quarter" idx="15"/>
          </p:nvPr>
        </p:nvSpPr>
        <p:spPr>
          <a:xfrm>
            <a:off x="592031" y="253988"/>
            <a:ext cx="10757719" cy="516626"/>
          </a:xfrm>
        </p:spPr>
        <p:txBody>
          <a:bodyPr>
            <a:noAutofit/>
          </a:bodyPr>
          <a:lstStyle/>
          <a:p>
            <a:pPr marL="0" indent="0">
              <a:lnSpc>
                <a:spcPct val="100000"/>
              </a:lnSpc>
              <a:buNone/>
            </a:pPr>
            <a:r>
              <a:rPr lang="en-US" sz="3200" b="1" noProof="0">
                <a:solidFill>
                  <a:schemeClr val="accent1"/>
                </a:solidFill>
              </a:rPr>
              <a:t>Key Insights</a:t>
            </a:r>
          </a:p>
        </p:txBody>
      </p:sp>
      <p:sp>
        <p:nvSpPr>
          <p:cNvPr id="9" name="Rectangle 8">
            <a:extLst>
              <a:ext uri="{FF2B5EF4-FFF2-40B4-BE49-F238E27FC236}">
                <a16:creationId xmlns:a16="http://schemas.microsoft.com/office/drawing/2014/main" id="{061DC954-1006-B8C4-5D80-B2043FC17AF3}"/>
              </a:ext>
            </a:extLst>
          </p:cNvPr>
          <p:cNvSpPr/>
          <p:nvPr/>
        </p:nvSpPr>
        <p:spPr>
          <a:xfrm>
            <a:off x="560853" y="941559"/>
            <a:ext cx="5486400" cy="380182"/>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H Quest Turquoise Hydrogen Pilot</a:t>
            </a:r>
          </a:p>
        </p:txBody>
      </p:sp>
      <p:sp>
        <p:nvSpPr>
          <p:cNvPr id="10" name="Rectangle 9">
            <a:extLst>
              <a:ext uri="{FF2B5EF4-FFF2-40B4-BE49-F238E27FC236}">
                <a16:creationId xmlns:a16="http://schemas.microsoft.com/office/drawing/2014/main" id="{84775895-F8A6-2AF9-4B15-9E95D203B750}"/>
              </a:ext>
            </a:extLst>
          </p:cNvPr>
          <p:cNvSpPr/>
          <p:nvPr/>
        </p:nvSpPr>
        <p:spPr>
          <a:xfrm>
            <a:off x="6378675" y="941559"/>
            <a:ext cx="5486400" cy="38018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Material Compatibility</a:t>
            </a:r>
          </a:p>
        </p:txBody>
      </p:sp>
      <p:sp>
        <p:nvSpPr>
          <p:cNvPr id="11" name="Rectangle 10">
            <a:extLst>
              <a:ext uri="{FF2B5EF4-FFF2-40B4-BE49-F238E27FC236}">
                <a16:creationId xmlns:a16="http://schemas.microsoft.com/office/drawing/2014/main" id="{8D6EDBFF-927E-62DC-1BBA-1496B88F0BF1}"/>
              </a:ext>
            </a:extLst>
          </p:cNvPr>
          <p:cNvSpPr/>
          <p:nvPr/>
        </p:nvSpPr>
        <p:spPr>
          <a:xfrm>
            <a:off x="560853" y="1396989"/>
            <a:ext cx="5486400" cy="6550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Produces hydrogen efficiently using microwave plasma pyrolysis;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yields valuable carbon byproducts like graphene and carbon black.</a:t>
            </a:r>
          </a:p>
        </p:txBody>
      </p:sp>
      <p:sp>
        <p:nvSpPr>
          <p:cNvPr id="20" name="Rectangle 19">
            <a:extLst>
              <a:ext uri="{FF2B5EF4-FFF2-40B4-BE49-F238E27FC236}">
                <a16:creationId xmlns:a16="http://schemas.microsoft.com/office/drawing/2014/main" id="{4119AB1E-261A-B9CF-E538-7222FDA2D4A9}"/>
              </a:ext>
            </a:extLst>
          </p:cNvPr>
          <p:cNvSpPr/>
          <p:nvPr/>
        </p:nvSpPr>
        <p:spPr>
          <a:xfrm>
            <a:off x="560853" y="2634393"/>
            <a:ext cx="5486400" cy="11197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Offers Peoples a cost-effective, low-carbon hydrogen source made in Pennsylvania, avoiding reliance on high-cost green hydrogen imports.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Carbon byproduct valorization creates new revenue streams that could subsidize hydrogen production and reduce customer rate impacts.</a:t>
            </a:r>
          </a:p>
        </p:txBody>
      </p:sp>
      <p:sp>
        <p:nvSpPr>
          <p:cNvPr id="21" name="Rectangle 20">
            <a:extLst>
              <a:ext uri="{FF2B5EF4-FFF2-40B4-BE49-F238E27FC236}">
                <a16:creationId xmlns:a16="http://schemas.microsoft.com/office/drawing/2014/main" id="{7656D655-3BC7-D83C-C566-648617E1EB98}"/>
              </a:ext>
            </a:extLst>
          </p:cNvPr>
          <p:cNvSpPr/>
          <p:nvPr/>
        </p:nvSpPr>
        <p:spPr>
          <a:xfrm>
            <a:off x="560853" y="4029735"/>
            <a:ext cx="5486400" cy="616065"/>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Existing infrastructure can accommodate low-level hydrogen blending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with minimal modification.</a:t>
            </a:r>
          </a:p>
        </p:txBody>
      </p:sp>
      <p:sp>
        <p:nvSpPr>
          <p:cNvPr id="22" name="Rectangle 21">
            <a:extLst>
              <a:ext uri="{FF2B5EF4-FFF2-40B4-BE49-F238E27FC236}">
                <a16:creationId xmlns:a16="http://schemas.microsoft.com/office/drawing/2014/main" id="{29B8B202-370E-AD20-0837-F71F9470371F}"/>
              </a:ext>
            </a:extLst>
          </p:cNvPr>
          <p:cNvSpPr/>
          <p:nvPr/>
        </p:nvSpPr>
        <p:spPr>
          <a:xfrm>
            <a:off x="560853" y="5222771"/>
            <a:ext cx="5486400" cy="793866"/>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Accelerates deployment timeline—Peoples can introduce hydrogen incrementally using current system components, allowing for lower-risk pilots without major upfront infrastructure overhauls.</a:t>
            </a:r>
          </a:p>
        </p:txBody>
      </p:sp>
      <p:sp>
        <p:nvSpPr>
          <p:cNvPr id="24" name="Rectangle 23">
            <a:extLst>
              <a:ext uri="{FF2B5EF4-FFF2-40B4-BE49-F238E27FC236}">
                <a16:creationId xmlns:a16="http://schemas.microsoft.com/office/drawing/2014/main" id="{A57589D9-5415-27C3-C986-AB1F2762BC79}"/>
              </a:ext>
            </a:extLst>
          </p:cNvPr>
          <p:cNvSpPr/>
          <p:nvPr/>
        </p:nvSpPr>
        <p:spPr>
          <a:xfrm>
            <a:off x="6378675" y="1396989"/>
            <a:ext cx="5486400" cy="655091"/>
          </a:xfrm>
          <a:prstGeom prst="rect">
            <a:avLst/>
          </a:prstGeom>
          <a:solidFill>
            <a:srgbClr val="CDD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PE100-RC plastic and 316L stainless steel perform well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under hydrogen exposure.</a:t>
            </a:r>
          </a:p>
        </p:txBody>
      </p:sp>
      <p:sp>
        <p:nvSpPr>
          <p:cNvPr id="26" name="Rectangle 25">
            <a:extLst>
              <a:ext uri="{FF2B5EF4-FFF2-40B4-BE49-F238E27FC236}">
                <a16:creationId xmlns:a16="http://schemas.microsoft.com/office/drawing/2014/main" id="{5EF73309-0E3F-3AFA-CD6B-7E5395F6F513}"/>
              </a:ext>
            </a:extLst>
          </p:cNvPr>
          <p:cNvSpPr/>
          <p:nvPr/>
        </p:nvSpPr>
        <p:spPr>
          <a:xfrm>
            <a:off x="6378675" y="2634393"/>
            <a:ext cx="5486400" cy="1119780"/>
          </a:xfrm>
          <a:prstGeom prst="rect">
            <a:avLst/>
          </a:prstGeom>
          <a:solidFill>
            <a:srgbClr val="CDD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A large portion of Peoples’ existing network is already hydrogen-ready. Targeting these segments first enables a phased rollout of blending with minimal capital investment.</a:t>
            </a:r>
          </a:p>
        </p:txBody>
      </p:sp>
      <p:sp>
        <p:nvSpPr>
          <p:cNvPr id="27" name="Rectangle 26">
            <a:extLst>
              <a:ext uri="{FF2B5EF4-FFF2-40B4-BE49-F238E27FC236}">
                <a16:creationId xmlns:a16="http://schemas.microsoft.com/office/drawing/2014/main" id="{453FCB22-2D4E-922F-880C-7632609429FE}"/>
              </a:ext>
            </a:extLst>
          </p:cNvPr>
          <p:cNvSpPr/>
          <p:nvPr/>
        </p:nvSpPr>
        <p:spPr>
          <a:xfrm>
            <a:off x="6378675" y="4029735"/>
            <a:ext cx="5486400" cy="616065"/>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Older bare steel requires replacement;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FRP (fiber-reinforced plastic) can be used for expansion areas.</a:t>
            </a:r>
          </a:p>
        </p:txBody>
      </p:sp>
      <p:sp>
        <p:nvSpPr>
          <p:cNvPr id="28" name="Rectangle 27">
            <a:extLst>
              <a:ext uri="{FF2B5EF4-FFF2-40B4-BE49-F238E27FC236}">
                <a16:creationId xmlns:a16="http://schemas.microsoft.com/office/drawing/2014/main" id="{5442BBED-EDA4-49F8-201A-38AAED15D0BF}"/>
              </a:ext>
            </a:extLst>
          </p:cNvPr>
          <p:cNvSpPr/>
          <p:nvPr/>
        </p:nvSpPr>
        <p:spPr>
          <a:xfrm>
            <a:off x="6378675" y="5222771"/>
            <a:ext cx="5486400" cy="793866"/>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Helps Peoples identify priority upgrade zones and long-term capex planning—while new builds can adopt FRP to future-proof infrastructure at lower cost than high-grade steel.</a:t>
            </a:r>
          </a:p>
        </p:txBody>
      </p:sp>
      <p:sp>
        <p:nvSpPr>
          <p:cNvPr id="29" name="Isosceles Triangle 28">
            <a:extLst>
              <a:ext uri="{FF2B5EF4-FFF2-40B4-BE49-F238E27FC236}">
                <a16:creationId xmlns:a16="http://schemas.microsoft.com/office/drawing/2014/main" id="{5FE0FC7A-9B06-07F5-C2FD-03B9B161B8A0}"/>
              </a:ext>
            </a:extLst>
          </p:cNvPr>
          <p:cNvSpPr/>
          <p:nvPr/>
        </p:nvSpPr>
        <p:spPr>
          <a:xfrm rot="10800000">
            <a:off x="6378675" y="2191719"/>
            <a:ext cx="5486402" cy="369422"/>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Isosceles Triangle 29">
            <a:extLst>
              <a:ext uri="{FF2B5EF4-FFF2-40B4-BE49-F238E27FC236}">
                <a16:creationId xmlns:a16="http://schemas.microsoft.com/office/drawing/2014/main" id="{BBF3E04E-621D-2743-3A9E-E2A6E37F76F2}"/>
              </a:ext>
            </a:extLst>
          </p:cNvPr>
          <p:cNvSpPr/>
          <p:nvPr/>
        </p:nvSpPr>
        <p:spPr>
          <a:xfrm rot="10800000">
            <a:off x="560849" y="2191719"/>
            <a:ext cx="5486402" cy="369422"/>
          </a:xfrm>
          <a:prstGeom prst="triangl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2" name="Straight Connector 31">
            <a:extLst>
              <a:ext uri="{FF2B5EF4-FFF2-40B4-BE49-F238E27FC236}">
                <a16:creationId xmlns:a16="http://schemas.microsoft.com/office/drawing/2014/main" id="{4093CCE9-80BB-BCB6-D9E8-BDD11B536DDA}"/>
              </a:ext>
            </a:extLst>
          </p:cNvPr>
          <p:cNvCxnSpPr/>
          <p:nvPr/>
        </p:nvCxnSpPr>
        <p:spPr>
          <a:xfrm>
            <a:off x="560132" y="3891516"/>
            <a:ext cx="11273044"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5162F7F7-2C19-8131-7D1B-2BBD402AFF56}"/>
              </a:ext>
            </a:extLst>
          </p:cNvPr>
          <p:cNvSpPr/>
          <p:nvPr/>
        </p:nvSpPr>
        <p:spPr>
          <a:xfrm rot="10800000">
            <a:off x="6409857" y="4784018"/>
            <a:ext cx="5486402" cy="369422"/>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4" name="Isosceles Triangle 33">
            <a:extLst>
              <a:ext uri="{FF2B5EF4-FFF2-40B4-BE49-F238E27FC236}">
                <a16:creationId xmlns:a16="http://schemas.microsoft.com/office/drawing/2014/main" id="{0C2BC353-CC98-C4CD-992F-28E2388DE8D4}"/>
              </a:ext>
            </a:extLst>
          </p:cNvPr>
          <p:cNvSpPr/>
          <p:nvPr/>
        </p:nvSpPr>
        <p:spPr>
          <a:xfrm rot="10800000">
            <a:off x="592031" y="4784018"/>
            <a:ext cx="5486402" cy="369422"/>
          </a:xfrm>
          <a:prstGeom prst="triangl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 name="Slide Number Placeholder 23">
            <a:extLst>
              <a:ext uri="{FF2B5EF4-FFF2-40B4-BE49-F238E27FC236}">
                <a16:creationId xmlns:a16="http://schemas.microsoft.com/office/drawing/2014/main" id="{F82912F7-EE1F-3C01-70D7-3DFAEF12E71A}"/>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6</a:t>
            </a:fld>
            <a:endParaRPr lang="en-US" b="1" noProof="0">
              <a:solidFill>
                <a:schemeClr val="accent1"/>
              </a:solidFill>
              <a:latin typeface="Arial" panose="020B0604020202020204" pitchFamily="34" charset="0"/>
              <a:cs typeface="Arial" panose="020B0604020202020204" pitchFamily="34" charset="0"/>
            </a:endParaRPr>
          </a:p>
        </p:txBody>
      </p:sp>
      <p:pic>
        <p:nvPicPr>
          <p:cNvPr id="2" name="Picture 1" descr="A close-up of blue text&#10;&#10;AI-generated content may be incorrect.">
            <a:extLst>
              <a:ext uri="{FF2B5EF4-FFF2-40B4-BE49-F238E27FC236}">
                <a16:creationId xmlns:a16="http://schemas.microsoft.com/office/drawing/2014/main" id="{1754ABEB-C2F7-9BDB-70FB-F7C21489598E}"/>
              </a:ext>
            </a:extLst>
          </p:cNvPr>
          <p:cNvPicPr>
            <a:picLocks noChangeAspect="1"/>
          </p:cNvPicPr>
          <p:nvPr/>
        </p:nvPicPr>
        <p:blipFill>
          <a:blip r:embed="rId7"/>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264711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0" grpId="0" animBg="1"/>
      <p:bldP spid="21" grpId="0" animBg="1"/>
      <p:bldP spid="22" grpId="0" animBg="1"/>
      <p:bldP spid="24" grpId="0" animBg="1"/>
      <p:bldP spid="26" grpId="0" animBg="1"/>
      <p:bldP spid="27" grpId="0" animBg="1"/>
      <p:bldP spid="28" grpId="0" animBg="1"/>
      <p:bldP spid="29" grpId="0" animBg="1"/>
      <p:bldP spid="30" grpId="0" animBg="1"/>
      <p:bldP spid="33" grpId="0" animBg="1"/>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0DB7-4D2C-96A0-DDA4-093DCD556C53}"/>
            </a:ext>
          </a:extLst>
        </p:cNvPr>
        <p:cNvGrpSpPr/>
        <p:nvPr/>
      </p:nvGrpSpPr>
      <p:grpSpPr>
        <a:xfrm>
          <a:off x="0" y="0"/>
          <a:ext cx="0" cy="0"/>
          <a:chOff x="0" y="0"/>
          <a:chExt cx="0" cy="0"/>
        </a:xfrm>
      </p:grpSpPr>
      <p:graphicFrame>
        <p:nvGraphicFramePr>
          <p:cNvPr id="25" name="Diagram 24">
            <a:extLst>
              <a:ext uri="{FF2B5EF4-FFF2-40B4-BE49-F238E27FC236}">
                <a16:creationId xmlns:a16="http://schemas.microsoft.com/office/drawing/2014/main" id="{7FC13640-BAB4-7052-434F-24577A2D3EA9}"/>
              </a:ext>
            </a:extLst>
          </p:cNvPr>
          <p:cNvGraphicFramePr/>
          <p:nvPr>
            <p:extLst>
              <p:ext uri="{D42A27DB-BD31-4B8C-83A1-F6EECF244321}">
                <p14:modId xmlns:p14="http://schemas.microsoft.com/office/powerpoint/2010/main" val="1453701555"/>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1">
            <a:extLst>
              <a:ext uri="{FF2B5EF4-FFF2-40B4-BE49-F238E27FC236}">
                <a16:creationId xmlns:a16="http://schemas.microsoft.com/office/drawing/2014/main" id="{36BE7132-0299-6D0C-7022-A1052461F71C}"/>
              </a:ext>
            </a:extLst>
          </p:cNvPr>
          <p:cNvSpPr>
            <a:spLocks noGrp="1"/>
          </p:cNvSpPr>
          <p:nvPr>
            <p:ph type="body" sz="quarter" idx="15"/>
          </p:nvPr>
        </p:nvSpPr>
        <p:spPr>
          <a:xfrm>
            <a:off x="592031" y="253988"/>
            <a:ext cx="10757719" cy="516626"/>
          </a:xfrm>
        </p:spPr>
        <p:txBody>
          <a:bodyPr>
            <a:noAutofit/>
          </a:bodyPr>
          <a:lstStyle/>
          <a:p>
            <a:pPr marL="0" indent="0">
              <a:lnSpc>
                <a:spcPct val="100000"/>
              </a:lnSpc>
              <a:buNone/>
            </a:pPr>
            <a:r>
              <a:rPr lang="en-US" sz="3200" b="1" noProof="0">
                <a:solidFill>
                  <a:schemeClr val="accent1"/>
                </a:solidFill>
              </a:rPr>
              <a:t>Key Insights Continued</a:t>
            </a:r>
          </a:p>
        </p:txBody>
      </p:sp>
      <p:sp>
        <p:nvSpPr>
          <p:cNvPr id="9" name="Rectangle 8">
            <a:extLst>
              <a:ext uri="{FF2B5EF4-FFF2-40B4-BE49-F238E27FC236}">
                <a16:creationId xmlns:a16="http://schemas.microsoft.com/office/drawing/2014/main" id="{18570717-93DE-8F1B-E445-BF5F92C38295}"/>
              </a:ext>
            </a:extLst>
          </p:cNvPr>
          <p:cNvSpPr/>
          <p:nvPr/>
        </p:nvSpPr>
        <p:spPr>
          <a:xfrm>
            <a:off x="560854" y="941559"/>
            <a:ext cx="4606570" cy="38018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ESG &amp; Regulatory Fit</a:t>
            </a:r>
          </a:p>
        </p:txBody>
      </p:sp>
      <p:sp>
        <p:nvSpPr>
          <p:cNvPr id="10" name="Rectangle 9">
            <a:extLst>
              <a:ext uri="{FF2B5EF4-FFF2-40B4-BE49-F238E27FC236}">
                <a16:creationId xmlns:a16="http://schemas.microsoft.com/office/drawing/2014/main" id="{94A78CD3-E969-686E-C7C0-6467D2DF1DE8}"/>
              </a:ext>
            </a:extLst>
          </p:cNvPr>
          <p:cNvSpPr/>
          <p:nvPr/>
        </p:nvSpPr>
        <p:spPr>
          <a:xfrm>
            <a:off x="5337544" y="941559"/>
            <a:ext cx="6527531" cy="380182"/>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Leak Detection Technologies</a:t>
            </a:r>
          </a:p>
        </p:txBody>
      </p:sp>
      <p:sp>
        <p:nvSpPr>
          <p:cNvPr id="11" name="Rectangle 10">
            <a:extLst>
              <a:ext uri="{FF2B5EF4-FFF2-40B4-BE49-F238E27FC236}">
                <a16:creationId xmlns:a16="http://schemas.microsoft.com/office/drawing/2014/main" id="{C6CECB3B-37C2-5C6B-A219-738A363C36FF}"/>
              </a:ext>
            </a:extLst>
          </p:cNvPr>
          <p:cNvSpPr/>
          <p:nvPr/>
        </p:nvSpPr>
        <p:spPr>
          <a:xfrm>
            <a:off x="560854" y="1396989"/>
            <a:ext cx="4606570" cy="655091"/>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Hydrogen supports Peoples’ 2035 GHG goals and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Essential Utilities’ decarbonization roadmap.</a:t>
            </a:r>
          </a:p>
        </p:txBody>
      </p:sp>
      <p:sp>
        <p:nvSpPr>
          <p:cNvPr id="20" name="Rectangle 19">
            <a:extLst>
              <a:ext uri="{FF2B5EF4-FFF2-40B4-BE49-F238E27FC236}">
                <a16:creationId xmlns:a16="http://schemas.microsoft.com/office/drawing/2014/main" id="{47C2413B-1626-345F-F558-7FC9715CDE21}"/>
              </a:ext>
            </a:extLst>
          </p:cNvPr>
          <p:cNvSpPr/>
          <p:nvPr/>
        </p:nvSpPr>
        <p:spPr>
          <a:xfrm>
            <a:off x="560854" y="2634394"/>
            <a:ext cx="4606570" cy="81342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Strengthens ESG disclosures and investor appeal; early adoption builds leadership credibility in PA’s clean energy space.</a:t>
            </a:r>
          </a:p>
        </p:txBody>
      </p:sp>
      <p:sp>
        <p:nvSpPr>
          <p:cNvPr id="21" name="Rectangle 20">
            <a:extLst>
              <a:ext uri="{FF2B5EF4-FFF2-40B4-BE49-F238E27FC236}">
                <a16:creationId xmlns:a16="http://schemas.microsoft.com/office/drawing/2014/main" id="{47E7F4EA-48B7-9E65-9DEF-EF1E2AD1E806}"/>
              </a:ext>
            </a:extLst>
          </p:cNvPr>
          <p:cNvSpPr/>
          <p:nvPr/>
        </p:nvSpPr>
        <p:spPr>
          <a:xfrm>
            <a:off x="560854" y="4104166"/>
            <a:ext cx="4606570" cy="61606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Current rate structures don’t support hydrogen cost recovery.</a:t>
            </a:r>
          </a:p>
        </p:txBody>
      </p:sp>
      <p:sp>
        <p:nvSpPr>
          <p:cNvPr id="22" name="Rectangle 21">
            <a:extLst>
              <a:ext uri="{FF2B5EF4-FFF2-40B4-BE49-F238E27FC236}">
                <a16:creationId xmlns:a16="http://schemas.microsoft.com/office/drawing/2014/main" id="{9F46321E-9890-4515-6FFB-C937B940934D}"/>
              </a:ext>
            </a:extLst>
          </p:cNvPr>
          <p:cNvSpPr/>
          <p:nvPr/>
        </p:nvSpPr>
        <p:spPr>
          <a:xfrm>
            <a:off x="560854" y="5291659"/>
            <a:ext cx="4606570" cy="72497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Highlights need for PUC engagement and green gas pricing models to enable cost pass-through and unlock future revenue.</a:t>
            </a:r>
          </a:p>
        </p:txBody>
      </p:sp>
      <p:sp>
        <p:nvSpPr>
          <p:cNvPr id="24" name="Rectangle 23">
            <a:extLst>
              <a:ext uri="{FF2B5EF4-FFF2-40B4-BE49-F238E27FC236}">
                <a16:creationId xmlns:a16="http://schemas.microsoft.com/office/drawing/2014/main" id="{43FE7744-FCDC-A790-95C4-9C4D4285135D}"/>
              </a:ext>
            </a:extLst>
          </p:cNvPr>
          <p:cNvSpPr/>
          <p:nvPr/>
        </p:nvSpPr>
        <p:spPr>
          <a:xfrm>
            <a:off x="5337544" y="1396989"/>
            <a:ext cx="6527531" cy="655091"/>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Tools like OGI cameras, satellite detection (</a:t>
            </a:r>
            <a:r>
              <a:rPr lang="en-US" sz="1200" noProof="0" err="1">
                <a:solidFill>
                  <a:schemeClr val="accent1"/>
                </a:solidFill>
                <a:latin typeface="Arial" panose="020B0604020202020204" pitchFamily="34" charset="0"/>
                <a:cs typeface="Arial" panose="020B0604020202020204" pitchFamily="34" charset="0"/>
              </a:rPr>
              <a:t>GHGSat</a:t>
            </a:r>
            <a:r>
              <a:rPr lang="en-US" sz="1200" noProof="0">
                <a:solidFill>
                  <a:schemeClr val="accent1"/>
                </a:solidFill>
                <a:latin typeface="Arial" panose="020B0604020202020204" pitchFamily="34" charset="0"/>
                <a:cs typeface="Arial" panose="020B0604020202020204" pitchFamily="34" charset="0"/>
              </a:rPr>
              <a:t>, Kayrros), and AI-based </a:t>
            </a:r>
            <a:r>
              <a:rPr lang="en-US" sz="1200" noProof="0" err="1">
                <a:solidFill>
                  <a:schemeClr val="accent1"/>
                </a:solidFill>
                <a:latin typeface="Arial" panose="020B0604020202020204" pitchFamily="34" charset="0"/>
                <a:cs typeface="Arial" panose="020B0604020202020204" pitchFamily="34" charset="0"/>
              </a:rPr>
              <a:t>MultiSensor</a:t>
            </a:r>
            <a:r>
              <a:rPr lang="en-US" sz="1200" noProof="0">
                <a:solidFill>
                  <a:schemeClr val="accent1"/>
                </a:solidFill>
                <a:latin typeface="Arial" panose="020B0604020202020204" pitchFamily="34" charset="0"/>
                <a:cs typeface="Arial" panose="020B0604020202020204" pitchFamily="34" charset="0"/>
              </a:rPr>
              <a:t> platforms offer precise, real-time gas monitoring.</a:t>
            </a:r>
          </a:p>
        </p:txBody>
      </p:sp>
      <p:sp>
        <p:nvSpPr>
          <p:cNvPr id="26" name="Rectangle 25">
            <a:extLst>
              <a:ext uri="{FF2B5EF4-FFF2-40B4-BE49-F238E27FC236}">
                <a16:creationId xmlns:a16="http://schemas.microsoft.com/office/drawing/2014/main" id="{5C3318B5-0A4A-C9D5-6955-E9D72DAC8369}"/>
              </a:ext>
            </a:extLst>
          </p:cNvPr>
          <p:cNvSpPr/>
          <p:nvPr/>
        </p:nvSpPr>
        <p:spPr>
          <a:xfrm>
            <a:off x="5337544" y="2634393"/>
            <a:ext cx="6527531" cy="7841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Enhances safety, operational transparency, and regulatory compliance in a hydrogen-blended system—while also reducing methane leaks, aligning with methane intensity goals and EPA rules. Investment here demonstrates proactive risk management.</a:t>
            </a:r>
          </a:p>
        </p:txBody>
      </p:sp>
      <p:sp>
        <p:nvSpPr>
          <p:cNvPr id="27" name="Rectangle 26">
            <a:extLst>
              <a:ext uri="{FF2B5EF4-FFF2-40B4-BE49-F238E27FC236}">
                <a16:creationId xmlns:a16="http://schemas.microsoft.com/office/drawing/2014/main" id="{55DB5BEA-9323-727D-0423-087010FEACC3}"/>
              </a:ext>
            </a:extLst>
          </p:cNvPr>
          <p:cNvSpPr/>
          <p:nvPr/>
        </p:nvSpPr>
        <p:spPr>
          <a:xfrm>
            <a:off x="5337544" y="4104166"/>
            <a:ext cx="6527531" cy="616065"/>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nsight:</a:t>
            </a:r>
          </a:p>
          <a:p>
            <a:pPr algn="ctr"/>
            <a:r>
              <a:rPr lang="en-US" sz="1200" noProof="0">
                <a:solidFill>
                  <a:schemeClr val="accent1"/>
                </a:solidFill>
                <a:latin typeface="Arial" panose="020B0604020202020204" pitchFamily="34" charset="0"/>
                <a:cs typeface="Arial" panose="020B0604020202020204" pitchFamily="34" charset="0"/>
              </a:rPr>
              <a:t>SoCalGas’ Orange Cove pilot successfully gained community trust through </a:t>
            </a:r>
            <a:br>
              <a:rPr lang="en-US" sz="1200" noProof="0">
                <a:solidFill>
                  <a:schemeClr val="accent1"/>
                </a:solidFill>
                <a:latin typeface="Arial" panose="020B0604020202020204" pitchFamily="34" charset="0"/>
                <a:cs typeface="Arial" panose="020B0604020202020204" pitchFamily="34" charset="0"/>
              </a:rPr>
            </a:br>
            <a:r>
              <a:rPr lang="en-US" sz="1200" noProof="0">
                <a:solidFill>
                  <a:schemeClr val="accent1"/>
                </a:solidFill>
                <a:latin typeface="Arial" panose="020B0604020202020204" pitchFamily="34" charset="0"/>
                <a:cs typeface="Arial" panose="020B0604020202020204" pitchFamily="34" charset="0"/>
              </a:rPr>
              <a:t>home appliance checks, local workforce training, and open data sharing.</a:t>
            </a:r>
          </a:p>
        </p:txBody>
      </p:sp>
      <p:sp>
        <p:nvSpPr>
          <p:cNvPr id="28" name="Rectangle 27">
            <a:extLst>
              <a:ext uri="{FF2B5EF4-FFF2-40B4-BE49-F238E27FC236}">
                <a16:creationId xmlns:a16="http://schemas.microsoft.com/office/drawing/2014/main" id="{9B47481B-47CA-6C76-8414-3B0E01B3B2BA}"/>
              </a:ext>
            </a:extLst>
          </p:cNvPr>
          <p:cNvSpPr/>
          <p:nvPr/>
        </p:nvSpPr>
        <p:spPr>
          <a:xfrm>
            <a:off x="5337544" y="5291659"/>
            <a:ext cx="6527531" cy="724978"/>
          </a:xfrm>
          <a:prstGeom prst="rect">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a:solidFill>
                  <a:schemeClr val="accent1"/>
                </a:solidFill>
                <a:latin typeface="Arial" panose="020B0604020202020204" pitchFamily="34" charset="0"/>
                <a:cs typeface="Arial" panose="020B0604020202020204" pitchFamily="34" charset="0"/>
              </a:rPr>
              <a:t>Implication: </a:t>
            </a:r>
          </a:p>
          <a:p>
            <a:pPr algn="ctr"/>
            <a:r>
              <a:rPr lang="en-US" sz="1200" noProof="0">
                <a:solidFill>
                  <a:schemeClr val="accent1"/>
                </a:solidFill>
                <a:latin typeface="Arial" panose="020B0604020202020204" pitchFamily="34" charset="0"/>
                <a:cs typeface="Arial" panose="020B0604020202020204" pitchFamily="34" charset="0"/>
              </a:rPr>
              <a:t>Peoples can adopt similar engagement strategies to preempt public pushback, improve local acceptance, and build a replicable template for future pilots across its service territory.</a:t>
            </a:r>
          </a:p>
        </p:txBody>
      </p:sp>
      <p:sp>
        <p:nvSpPr>
          <p:cNvPr id="29" name="Isosceles Triangle 28">
            <a:extLst>
              <a:ext uri="{FF2B5EF4-FFF2-40B4-BE49-F238E27FC236}">
                <a16:creationId xmlns:a16="http://schemas.microsoft.com/office/drawing/2014/main" id="{D1F3D768-4EF4-9130-C4A8-D86E1DACD862}"/>
              </a:ext>
            </a:extLst>
          </p:cNvPr>
          <p:cNvSpPr/>
          <p:nvPr/>
        </p:nvSpPr>
        <p:spPr>
          <a:xfrm rot="10800000">
            <a:off x="5337543" y="2191719"/>
            <a:ext cx="6527533" cy="369422"/>
          </a:xfrm>
          <a:prstGeom prst="triangle">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Isosceles Triangle 29">
            <a:extLst>
              <a:ext uri="{FF2B5EF4-FFF2-40B4-BE49-F238E27FC236}">
                <a16:creationId xmlns:a16="http://schemas.microsoft.com/office/drawing/2014/main" id="{B14A95A3-792C-5182-CCE1-79FBAE78E9E6}"/>
              </a:ext>
            </a:extLst>
          </p:cNvPr>
          <p:cNvSpPr/>
          <p:nvPr/>
        </p:nvSpPr>
        <p:spPr>
          <a:xfrm rot="10800000">
            <a:off x="560849" y="2191719"/>
            <a:ext cx="4606572" cy="369422"/>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2" name="Straight Connector 31">
            <a:extLst>
              <a:ext uri="{FF2B5EF4-FFF2-40B4-BE49-F238E27FC236}">
                <a16:creationId xmlns:a16="http://schemas.microsoft.com/office/drawing/2014/main" id="{40B6B8BD-E1BC-9791-8903-6624B79C26FB}"/>
              </a:ext>
            </a:extLst>
          </p:cNvPr>
          <p:cNvCxnSpPr/>
          <p:nvPr/>
        </p:nvCxnSpPr>
        <p:spPr>
          <a:xfrm>
            <a:off x="560132" y="3540637"/>
            <a:ext cx="11273044"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C4E3CC06-B32D-E7CC-104F-C792E972DC64}"/>
              </a:ext>
            </a:extLst>
          </p:cNvPr>
          <p:cNvSpPr/>
          <p:nvPr/>
        </p:nvSpPr>
        <p:spPr>
          <a:xfrm rot="10800000">
            <a:off x="5358092" y="4837183"/>
            <a:ext cx="6527533" cy="369422"/>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4" name="Isosceles Triangle 33">
            <a:extLst>
              <a:ext uri="{FF2B5EF4-FFF2-40B4-BE49-F238E27FC236}">
                <a16:creationId xmlns:a16="http://schemas.microsoft.com/office/drawing/2014/main" id="{0649F389-E2E2-444E-519A-643CD3D8B5E8}"/>
              </a:ext>
            </a:extLst>
          </p:cNvPr>
          <p:cNvSpPr/>
          <p:nvPr/>
        </p:nvSpPr>
        <p:spPr>
          <a:xfrm rot="10800000">
            <a:off x="581398" y="4837183"/>
            <a:ext cx="4606572" cy="369422"/>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Rectangle 1">
            <a:extLst>
              <a:ext uri="{FF2B5EF4-FFF2-40B4-BE49-F238E27FC236}">
                <a16:creationId xmlns:a16="http://schemas.microsoft.com/office/drawing/2014/main" id="{4ECECA12-84E1-342D-F2E4-FF275B4B8A0A}"/>
              </a:ext>
            </a:extLst>
          </p:cNvPr>
          <p:cNvSpPr/>
          <p:nvPr/>
        </p:nvSpPr>
        <p:spPr>
          <a:xfrm>
            <a:off x="5337544" y="3643240"/>
            <a:ext cx="6527531" cy="380182"/>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solidFill>
                  <a:schemeClr val="accent1"/>
                </a:solidFill>
                <a:latin typeface="Arial" panose="020B0604020202020204" pitchFamily="34" charset="0"/>
                <a:cs typeface="Arial" panose="020B0604020202020204" pitchFamily="34" charset="0"/>
              </a:rPr>
              <a:t>Public Engagement Models</a:t>
            </a:r>
          </a:p>
        </p:txBody>
      </p:sp>
      <p:sp>
        <p:nvSpPr>
          <p:cNvPr id="4" name="Slide Number Placeholder 23">
            <a:extLst>
              <a:ext uri="{FF2B5EF4-FFF2-40B4-BE49-F238E27FC236}">
                <a16:creationId xmlns:a16="http://schemas.microsoft.com/office/drawing/2014/main" id="{3CBEE07A-FED1-350D-AE9A-9D520827D324}"/>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7</a:t>
            </a:fld>
            <a:endParaRPr lang="en-US" b="1" noProof="0">
              <a:solidFill>
                <a:schemeClr val="accent1"/>
              </a:solidFill>
              <a:latin typeface="Arial" panose="020B0604020202020204" pitchFamily="34" charset="0"/>
              <a:cs typeface="Arial" panose="020B0604020202020204" pitchFamily="34" charset="0"/>
            </a:endParaRPr>
          </a:p>
        </p:txBody>
      </p:sp>
      <p:pic>
        <p:nvPicPr>
          <p:cNvPr id="7" name="Picture 6" descr="A close-up of blue text&#10;&#10;AI-generated content may be incorrect.">
            <a:extLst>
              <a:ext uri="{FF2B5EF4-FFF2-40B4-BE49-F238E27FC236}">
                <a16:creationId xmlns:a16="http://schemas.microsoft.com/office/drawing/2014/main" id="{A40C5D85-027F-2151-CA1D-92BBC3C373CF}"/>
              </a:ext>
            </a:extLst>
          </p:cNvPr>
          <p:cNvPicPr>
            <a:picLocks noChangeAspect="1"/>
          </p:cNvPicPr>
          <p:nvPr/>
        </p:nvPicPr>
        <p:blipFill>
          <a:blip r:embed="rId7"/>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713803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0" grpId="0" animBg="1"/>
      <p:bldP spid="21" grpId="0" animBg="1"/>
      <p:bldP spid="22" grpId="0" animBg="1"/>
      <p:bldP spid="24" grpId="0" animBg="1"/>
      <p:bldP spid="26" grpId="0" animBg="1"/>
      <p:bldP spid="27" grpId="0" animBg="1"/>
      <p:bldP spid="28" grpId="0" animBg="1"/>
      <p:bldP spid="29" grpId="0" animBg="1"/>
      <p:bldP spid="30" grpId="0" animBg="1"/>
      <p:bldP spid="33" grpId="0" animBg="1"/>
      <p:bldP spid="34" grpId="0" animBg="1"/>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EEA89-4ABB-93A8-2781-CBA9745C0142}"/>
            </a:ext>
          </a:extLst>
        </p:cNvPr>
        <p:cNvGrpSpPr/>
        <p:nvPr/>
      </p:nvGrpSpPr>
      <p:grpSpPr>
        <a:xfrm>
          <a:off x="0" y="0"/>
          <a:ext cx="0" cy="0"/>
          <a:chOff x="0" y="0"/>
          <a:chExt cx="0" cy="0"/>
        </a:xfrm>
      </p:grpSpPr>
      <p:sp>
        <p:nvSpPr>
          <p:cNvPr id="27" name="Arrow: Pentagon 26">
            <a:extLst>
              <a:ext uri="{FF2B5EF4-FFF2-40B4-BE49-F238E27FC236}">
                <a16:creationId xmlns:a16="http://schemas.microsoft.com/office/drawing/2014/main" id="{1B81EB66-CAA6-7571-14A5-F3373515A91F}"/>
              </a:ext>
            </a:extLst>
          </p:cNvPr>
          <p:cNvSpPr/>
          <p:nvPr/>
        </p:nvSpPr>
        <p:spPr>
          <a:xfrm>
            <a:off x="1521296" y="1226282"/>
            <a:ext cx="10202617" cy="680490"/>
          </a:xfrm>
          <a:prstGeom prst="homePlat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 name="Arrow: Pentagon 27">
            <a:extLst>
              <a:ext uri="{FF2B5EF4-FFF2-40B4-BE49-F238E27FC236}">
                <a16:creationId xmlns:a16="http://schemas.microsoft.com/office/drawing/2014/main" id="{05C74383-8A16-D14C-6089-52FDB5B8C368}"/>
              </a:ext>
            </a:extLst>
          </p:cNvPr>
          <p:cNvSpPr/>
          <p:nvPr/>
        </p:nvSpPr>
        <p:spPr>
          <a:xfrm>
            <a:off x="1521296" y="2219326"/>
            <a:ext cx="10202617" cy="680490"/>
          </a:xfrm>
          <a:prstGeom prst="homePlat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Arrow: Pentagon 28">
            <a:extLst>
              <a:ext uri="{FF2B5EF4-FFF2-40B4-BE49-F238E27FC236}">
                <a16:creationId xmlns:a16="http://schemas.microsoft.com/office/drawing/2014/main" id="{0BDE2E58-AD4C-2CD4-AA8E-D6E9622AA0AA}"/>
              </a:ext>
            </a:extLst>
          </p:cNvPr>
          <p:cNvSpPr/>
          <p:nvPr/>
        </p:nvSpPr>
        <p:spPr>
          <a:xfrm>
            <a:off x="1518006" y="3236568"/>
            <a:ext cx="10202617" cy="680490"/>
          </a:xfrm>
          <a:prstGeom prst="homePlat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1" name="Arrow: Pentagon 60">
            <a:extLst>
              <a:ext uri="{FF2B5EF4-FFF2-40B4-BE49-F238E27FC236}">
                <a16:creationId xmlns:a16="http://schemas.microsoft.com/office/drawing/2014/main" id="{520CF40D-5E49-EC94-547B-5A3FD2FD4149}"/>
              </a:ext>
            </a:extLst>
          </p:cNvPr>
          <p:cNvSpPr/>
          <p:nvPr/>
        </p:nvSpPr>
        <p:spPr>
          <a:xfrm>
            <a:off x="1518006" y="4298759"/>
            <a:ext cx="10202617" cy="628617"/>
          </a:xfrm>
          <a:prstGeom prst="homePlate">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ext Placeholder 1">
            <a:extLst>
              <a:ext uri="{FF2B5EF4-FFF2-40B4-BE49-F238E27FC236}">
                <a16:creationId xmlns:a16="http://schemas.microsoft.com/office/drawing/2014/main" id="{1AAF1234-3BB4-8632-04CC-187E7808680E}"/>
              </a:ext>
            </a:extLst>
          </p:cNvPr>
          <p:cNvSpPr>
            <a:spLocks noGrp="1"/>
          </p:cNvSpPr>
          <p:nvPr>
            <p:ph type="body" sz="quarter" idx="15"/>
          </p:nvPr>
        </p:nvSpPr>
        <p:spPr>
          <a:xfrm>
            <a:off x="618351" y="378086"/>
            <a:ext cx="10757719" cy="679412"/>
          </a:xfrm>
        </p:spPr>
        <p:txBody>
          <a:bodyPr>
            <a:noAutofit/>
          </a:bodyPr>
          <a:lstStyle/>
          <a:p>
            <a:pPr>
              <a:lnSpc>
                <a:spcPct val="100000"/>
              </a:lnSpc>
            </a:pPr>
            <a:r>
              <a:rPr lang="en-US" sz="3200" noProof="0"/>
              <a:t>Recommendations and Next Steps</a:t>
            </a:r>
          </a:p>
        </p:txBody>
      </p:sp>
      <p:sp>
        <p:nvSpPr>
          <p:cNvPr id="4" name="Rectangle 3">
            <a:extLst>
              <a:ext uri="{FF2B5EF4-FFF2-40B4-BE49-F238E27FC236}">
                <a16:creationId xmlns:a16="http://schemas.microsoft.com/office/drawing/2014/main" id="{36FA7053-AB29-2AD2-0426-08FC77A898B7}"/>
              </a:ext>
            </a:extLst>
          </p:cNvPr>
          <p:cNvSpPr/>
          <p:nvPr/>
        </p:nvSpPr>
        <p:spPr>
          <a:xfrm>
            <a:off x="536797" y="1012933"/>
            <a:ext cx="2131975" cy="680491"/>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Launch a Pilot</a:t>
            </a:r>
          </a:p>
        </p:txBody>
      </p:sp>
      <p:sp>
        <p:nvSpPr>
          <p:cNvPr id="18" name="Rectangle 17">
            <a:extLst>
              <a:ext uri="{FF2B5EF4-FFF2-40B4-BE49-F238E27FC236}">
                <a16:creationId xmlns:a16="http://schemas.microsoft.com/office/drawing/2014/main" id="{91EADCB6-7738-AD3E-AF3F-47DC3919F8D9}"/>
              </a:ext>
            </a:extLst>
          </p:cNvPr>
          <p:cNvSpPr/>
          <p:nvPr/>
        </p:nvSpPr>
        <p:spPr>
          <a:xfrm>
            <a:off x="536798" y="1992804"/>
            <a:ext cx="2131975" cy="680491"/>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Support and Enable </a:t>
            </a:r>
            <a:b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b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H Quest</a:t>
            </a:r>
          </a:p>
        </p:txBody>
      </p:sp>
      <p:sp>
        <p:nvSpPr>
          <p:cNvPr id="19" name="Rectangle 18">
            <a:extLst>
              <a:ext uri="{FF2B5EF4-FFF2-40B4-BE49-F238E27FC236}">
                <a16:creationId xmlns:a16="http://schemas.microsoft.com/office/drawing/2014/main" id="{6D906074-CA93-0593-A2C0-282664A6F53C}"/>
              </a:ext>
            </a:extLst>
          </p:cNvPr>
          <p:cNvSpPr/>
          <p:nvPr/>
        </p:nvSpPr>
        <p:spPr>
          <a:xfrm>
            <a:off x="536798" y="3004569"/>
            <a:ext cx="2131975" cy="680491"/>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a:solidFill>
                  <a:schemeClr val="accent1"/>
                </a:solidFill>
                <a:latin typeface="Arial" panose="020B0604020202020204" pitchFamily="34" charset="0"/>
                <a:ea typeface="Open Sans" panose="020B0606030504020204" pitchFamily="34" charset="0"/>
                <a:cs typeface="Arial" panose="020B0604020202020204" pitchFamily="34" charset="0"/>
              </a:rPr>
              <a:t>Regulatory Cost Recovery Path</a:t>
            </a:r>
            <a:endPar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10CBDADC-AC14-3231-F650-704220291FE0}"/>
              </a:ext>
            </a:extLst>
          </p:cNvPr>
          <p:cNvSpPr/>
          <p:nvPr/>
        </p:nvSpPr>
        <p:spPr>
          <a:xfrm>
            <a:off x="536797" y="4026968"/>
            <a:ext cx="2131975" cy="680491"/>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Deploy Leak Detection Systems</a:t>
            </a:r>
          </a:p>
        </p:txBody>
      </p:sp>
      <p:sp>
        <p:nvSpPr>
          <p:cNvPr id="62" name="Right Triangle 61">
            <a:extLst>
              <a:ext uri="{FF2B5EF4-FFF2-40B4-BE49-F238E27FC236}">
                <a16:creationId xmlns:a16="http://schemas.microsoft.com/office/drawing/2014/main" id="{951F2255-6125-EA93-F3B4-74A6F6065C39}"/>
              </a:ext>
            </a:extLst>
          </p:cNvPr>
          <p:cNvSpPr/>
          <p:nvPr/>
        </p:nvSpPr>
        <p:spPr>
          <a:xfrm rot="10800000" flipH="1">
            <a:off x="1533404" y="1687946"/>
            <a:ext cx="1135368" cy="218824"/>
          </a:xfrm>
          <a:prstGeom prst="rtTriangl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4" name="Right Triangle 73">
            <a:extLst>
              <a:ext uri="{FF2B5EF4-FFF2-40B4-BE49-F238E27FC236}">
                <a16:creationId xmlns:a16="http://schemas.microsoft.com/office/drawing/2014/main" id="{A8B808EF-CC10-8170-B745-2DCC677D8587}"/>
              </a:ext>
            </a:extLst>
          </p:cNvPr>
          <p:cNvSpPr/>
          <p:nvPr/>
        </p:nvSpPr>
        <p:spPr>
          <a:xfrm rot="10800000" flipH="1">
            <a:off x="1533404" y="2673295"/>
            <a:ext cx="1135368" cy="218824"/>
          </a:xfrm>
          <a:prstGeom prst="r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5" name="Right Triangle 74">
            <a:extLst>
              <a:ext uri="{FF2B5EF4-FFF2-40B4-BE49-F238E27FC236}">
                <a16:creationId xmlns:a16="http://schemas.microsoft.com/office/drawing/2014/main" id="{A1558708-30F7-DA79-BC22-234DB8AC4DAF}"/>
              </a:ext>
            </a:extLst>
          </p:cNvPr>
          <p:cNvSpPr/>
          <p:nvPr/>
        </p:nvSpPr>
        <p:spPr>
          <a:xfrm rot="10800000" flipH="1">
            <a:off x="1533404" y="3679614"/>
            <a:ext cx="1135368" cy="218824"/>
          </a:xfrm>
          <a:prstGeom prst="rtTriangle">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6" name="Right Triangle 75">
            <a:extLst>
              <a:ext uri="{FF2B5EF4-FFF2-40B4-BE49-F238E27FC236}">
                <a16:creationId xmlns:a16="http://schemas.microsoft.com/office/drawing/2014/main" id="{AEEA1B93-CAAB-82DA-927A-FB260462FB16}"/>
              </a:ext>
            </a:extLst>
          </p:cNvPr>
          <p:cNvSpPr/>
          <p:nvPr/>
        </p:nvSpPr>
        <p:spPr>
          <a:xfrm rot="10800000" flipH="1">
            <a:off x="1533403" y="4708551"/>
            <a:ext cx="1135368" cy="218824"/>
          </a:xfrm>
          <a:prstGeom prst="rtTriangle">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8" name="TextBox 77">
            <a:extLst>
              <a:ext uri="{FF2B5EF4-FFF2-40B4-BE49-F238E27FC236}">
                <a16:creationId xmlns:a16="http://schemas.microsoft.com/office/drawing/2014/main" id="{934F18DE-0F03-C5E7-CE55-E9C31112E98A}"/>
              </a:ext>
            </a:extLst>
          </p:cNvPr>
          <p:cNvSpPr txBox="1"/>
          <p:nvPr/>
        </p:nvSpPr>
        <p:spPr>
          <a:xfrm>
            <a:off x="2786966" y="1226282"/>
            <a:ext cx="8589104" cy="646331"/>
          </a:xfrm>
          <a:prstGeom prst="rect">
            <a:avLst/>
          </a:prstGeom>
          <a:noFill/>
        </p:spPr>
        <p:txBody>
          <a:bodyPr wrap="square">
            <a:spAutoFit/>
          </a:bodyPr>
          <a:lstStyle/>
          <a:p>
            <a:pPr algn="just"/>
            <a:r>
              <a:rPr lang="en-US" sz="1200" noProof="0">
                <a:solidFill>
                  <a:schemeClr val="accent1"/>
                </a:solidFill>
                <a:latin typeface="Arial" panose="020B0604020202020204" pitchFamily="34" charset="0"/>
                <a:cs typeface="Arial" panose="020B0604020202020204" pitchFamily="34" charset="0"/>
              </a:rPr>
              <a:t>Launch a second community-facing hydrogen blending pilot modeled after SoCalGas — incorporating home appliance testing, workforce training, and transparent data sharing — to complement the H Quest pilot, demonstrate operational feasibility, strengthen public trust, and build regulatory and federal funding credibility.</a:t>
            </a:r>
          </a:p>
        </p:txBody>
      </p:sp>
      <p:sp>
        <p:nvSpPr>
          <p:cNvPr id="79" name="TextBox 78">
            <a:extLst>
              <a:ext uri="{FF2B5EF4-FFF2-40B4-BE49-F238E27FC236}">
                <a16:creationId xmlns:a16="http://schemas.microsoft.com/office/drawing/2014/main" id="{FCF350DE-5779-1429-5A61-EBB340F862F0}"/>
              </a:ext>
            </a:extLst>
          </p:cNvPr>
          <p:cNvSpPr txBox="1"/>
          <p:nvPr/>
        </p:nvSpPr>
        <p:spPr>
          <a:xfrm>
            <a:off x="2778071" y="2223751"/>
            <a:ext cx="8611485" cy="646331"/>
          </a:xfrm>
          <a:prstGeom prst="rect">
            <a:avLst/>
          </a:prstGeom>
          <a:noFill/>
        </p:spPr>
        <p:txBody>
          <a:bodyPr wrap="square">
            <a:spAutoFit/>
          </a:bodyPr>
          <a:lstStyle/>
          <a:p>
            <a:pPr algn="just"/>
            <a:r>
              <a:rPr lang="en-US" sz="1200" noProof="0">
                <a:solidFill>
                  <a:schemeClr val="accent1"/>
                </a:solidFill>
                <a:latin typeface="Arial" panose="020B0604020202020204" pitchFamily="34" charset="0"/>
                <a:cs typeface="Arial" panose="020B0604020202020204" pitchFamily="34" charset="0"/>
              </a:rPr>
              <a:t>Support and enable H Quest to expand its turquoise hydrogen production capacity by facilitating infrastructure, policy alignment, and commercialization of carbon byproducts like graphene and carbon black — ensuring local supply chain resilience, reducing production costs, and maintaining affordable customer rates.</a:t>
            </a:r>
          </a:p>
        </p:txBody>
      </p:sp>
      <p:sp>
        <p:nvSpPr>
          <p:cNvPr id="81" name="TextBox 80">
            <a:extLst>
              <a:ext uri="{FF2B5EF4-FFF2-40B4-BE49-F238E27FC236}">
                <a16:creationId xmlns:a16="http://schemas.microsoft.com/office/drawing/2014/main" id="{24A8D879-A60E-E713-9AD7-442D5AF0353B}"/>
              </a:ext>
            </a:extLst>
          </p:cNvPr>
          <p:cNvSpPr txBox="1"/>
          <p:nvPr/>
        </p:nvSpPr>
        <p:spPr>
          <a:xfrm>
            <a:off x="2790082" y="3227227"/>
            <a:ext cx="8585988" cy="646331"/>
          </a:xfrm>
          <a:prstGeom prst="rect">
            <a:avLst/>
          </a:prstGeom>
          <a:noFill/>
        </p:spPr>
        <p:txBody>
          <a:bodyPr wrap="square">
            <a:spAutoFit/>
          </a:bodyPr>
          <a:lstStyle/>
          <a:p>
            <a:pPr algn="just"/>
            <a:r>
              <a:rPr lang="en-US" sz="1200" noProof="0">
                <a:solidFill>
                  <a:schemeClr val="accent1"/>
                </a:solidFill>
                <a:latin typeface="Arial" panose="020B0604020202020204" pitchFamily="34" charset="0"/>
                <a:cs typeface="Arial" panose="020B0604020202020204" pitchFamily="34" charset="0"/>
              </a:rPr>
              <a:t>File a hydrogen opt-in rider with the Pennsylvania PUC and formally engage in the MACH2 hydrogen hub working groups—creating a proactive regulatory strategy that secures early cost recovery mechanisms, positions Peoples for federal infrastructure funding, and builds long-term ratepayer value.</a:t>
            </a:r>
          </a:p>
        </p:txBody>
      </p:sp>
      <p:sp>
        <p:nvSpPr>
          <p:cNvPr id="83" name="TextBox 82">
            <a:extLst>
              <a:ext uri="{FF2B5EF4-FFF2-40B4-BE49-F238E27FC236}">
                <a16:creationId xmlns:a16="http://schemas.microsoft.com/office/drawing/2014/main" id="{310AB517-4B38-6C61-47AB-FFA3800753C9}"/>
              </a:ext>
            </a:extLst>
          </p:cNvPr>
          <p:cNvSpPr txBox="1"/>
          <p:nvPr/>
        </p:nvSpPr>
        <p:spPr>
          <a:xfrm>
            <a:off x="2785404" y="4253729"/>
            <a:ext cx="8604152" cy="646331"/>
          </a:xfrm>
          <a:prstGeom prst="rect">
            <a:avLst/>
          </a:prstGeom>
          <a:noFill/>
        </p:spPr>
        <p:txBody>
          <a:bodyPr wrap="square" lIns="91440" tIns="45720" rIns="91440" bIns="45720" anchor="t">
            <a:spAutoFit/>
          </a:bodyPr>
          <a:lstStyle/>
          <a:p>
            <a:pPr algn="just"/>
            <a:r>
              <a:rPr lang="en-US" sz="1200" noProof="0">
                <a:solidFill>
                  <a:schemeClr val="accent1"/>
                </a:solidFill>
                <a:latin typeface="Arial"/>
                <a:cs typeface="Arial"/>
              </a:rPr>
              <a:t>Deploy leak detection systems using advanced technologies: optical gas imaging (OGI), AI-powered </a:t>
            </a:r>
            <a:r>
              <a:rPr lang="en-US" sz="1200" noProof="0" err="1">
                <a:solidFill>
                  <a:schemeClr val="accent1"/>
                </a:solidFill>
                <a:latin typeface="Arial"/>
                <a:cs typeface="Arial"/>
              </a:rPr>
              <a:t>MultiSensor</a:t>
            </a:r>
            <a:r>
              <a:rPr lang="en-US" sz="1200" noProof="0">
                <a:solidFill>
                  <a:schemeClr val="accent1"/>
                </a:solidFill>
                <a:latin typeface="Arial"/>
                <a:cs typeface="Arial"/>
              </a:rPr>
              <a:t>, and satellite platforms like </a:t>
            </a:r>
            <a:r>
              <a:rPr lang="en-US" sz="1200" noProof="0" err="1">
                <a:solidFill>
                  <a:schemeClr val="accent1"/>
                </a:solidFill>
                <a:latin typeface="Arial"/>
                <a:cs typeface="Arial"/>
              </a:rPr>
              <a:t>GHGSat</a:t>
            </a:r>
            <a:r>
              <a:rPr lang="en-US" sz="1200" noProof="0">
                <a:solidFill>
                  <a:schemeClr val="accent1"/>
                </a:solidFill>
                <a:latin typeface="Arial"/>
                <a:cs typeface="Arial"/>
              </a:rPr>
              <a:t> — transitioning from legacy inspection methods to a predictive, real-time monitoring approach that enhances public safety, ensures compliance, and supports ESG disclosures.</a:t>
            </a:r>
          </a:p>
        </p:txBody>
      </p:sp>
      <p:sp>
        <p:nvSpPr>
          <p:cNvPr id="5" name="Arrow: Pentagon 4">
            <a:extLst>
              <a:ext uri="{FF2B5EF4-FFF2-40B4-BE49-F238E27FC236}">
                <a16:creationId xmlns:a16="http://schemas.microsoft.com/office/drawing/2014/main" id="{0E238377-17F9-442E-DC8D-47924277C403}"/>
              </a:ext>
            </a:extLst>
          </p:cNvPr>
          <p:cNvSpPr/>
          <p:nvPr/>
        </p:nvSpPr>
        <p:spPr>
          <a:xfrm>
            <a:off x="1533403" y="5300705"/>
            <a:ext cx="10202617" cy="628617"/>
          </a:xfrm>
          <a:prstGeom prst="homePlate">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Rectangle 5">
            <a:extLst>
              <a:ext uri="{FF2B5EF4-FFF2-40B4-BE49-F238E27FC236}">
                <a16:creationId xmlns:a16="http://schemas.microsoft.com/office/drawing/2014/main" id="{5B02F2E6-53E7-DA09-4259-0FEAD4A10D65}"/>
              </a:ext>
            </a:extLst>
          </p:cNvPr>
          <p:cNvSpPr/>
          <p:nvPr/>
        </p:nvSpPr>
        <p:spPr>
          <a:xfrm>
            <a:off x="552194" y="5028914"/>
            <a:ext cx="2131975" cy="680491"/>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spcAft>
                <a:spcPts val="1200"/>
              </a:spcAft>
            </a:pPr>
            <a:r>
              <a:rPr lang="en-US" sz="1400" b="1" noProof="0">
                <a:solidFill>
                  <a:schemeClr val="accent1"/>
                </a:solidFill>
                <a:latin typeface="Arial" panose="020B0604020202020204" pitchFamily="34" charset="0"/>
                <a:ea typeface="Open Sans" panose="020B0606030504020204" pitchFamily="34" charset="0"/>
                <a:cs typeface="Arial" panose="020B0604020202020204" pitchFamily="34" charset="0"/>
              </a:rPr>
              <a:t>Educate the Public</a:t>
            </a:r>
          </a:p>
        </p:txBody>
      </p:sp>
      <p:sp>
        <p:nvSpPr>
          <p:cNvPr id="7" name="Right Triangle 6">
            <a:extLst>
              <a:ext uri="{FF2B5EF4-FFF2-40B4-BE49-F238E27FC236}">
                <a16:creationId xmlns:a16="http://schemas.microsoft.com/office/drawing/2014/main" id="{B64BAD3B-079C-A4A5-ECC2-6D705F6C9F60}"/>
              </a:ext>
            </a:extLst>
          </p:cNvPr>
          <p:cNvSpPr/>
          <p:nvPr/>
        </p:nvSpPr>
        <p:spPr>
          <a:xfrm rot="10800000" flipH="1">
            <a:off x="1518006" y="5700971"/>
            <a:ext cx="1166162" cy="218825"/>
          </a:xfrm>
          <a:prstGeom prst="rtTriangle">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TextBox 7">
            <a:extLst>
              <a:ext uri="{FF2B5EF4-FFF2-40B4-BE49-F238E27FC236}">
                <a16:creationId xmlns:a16="http://schemas.microsoft.com/office/drawing/2014/main" id="{6A31A84B-1836-0151-C691-BB57B285BF6E}"/>
              </a:ext>
            </a:extLst>
          </p:cNvPr>
          <p:cNvSpPr txBox="1"/>
          <p:nvPr/>
        </p:nvSpPr>
        <p:spPr>
          <a:xfrm>
            <a:off x="2807902" y="5300705"/>
            <a:ext cx="8449723" cy="646331"/>
          </a:xfrm>
          <a:prstGeom prst="rect">
            <a:avLst/>
          </a:prstGeom>
          <a:noFill/>
        </p:spPr>
        <p:txBody>
          <a:bodyPr wrap="square" lIns="91440" tIns="45720" rIns="91440" bIns="45720" anchor="t">
            <a:spAutoFit/>
          </a:bodyPr>
          <a:lstStyle/>
          <a:p>
            <a:pPr algn="just"/>
            <a:r>
              <a:rPr lang="en-US" sz="1200" noProof="0">
                <a:solidFill>
                  <a:schemeClr val="accent1"/>
                </a:solidFill>
                <a:latin typeface="Arial"/>
                <a:cs typeface="Arial"/>
              </a:rPr>
              <a:t>Expand public education and transparency efforts through coordinated town halls, in-home pilot updates, and utility bill communications — broadening awareness, minimizing local resistance, and reinforcing Peoples’ reputation as a customer-first, innovation-driven utility.</a:t>
            </a:r>
          </a:p>
        </p:txBody>
      </p:sp>
      <p:sp>
        <p:nvSpPr>
          <p:cNvPr id="10" name="Slide Number Placeholder 23">
            <a:extLst>
              <a:ext uri="{FF2B5EF4-FFF2-40B4-BE49-F238E27FC236}">
                <a16:creationId xmlns:a16="http://schemas.microsoft.com/office/drawing/2014/main" id="{A773FF1F-5F3F-082B-D596-E0A0C3A20D1F}"/>
              </a:ext>
            </a:extLst>
          </p:cNvPr>
          <p:cNvSpPr txBox="1">
            <a:spLocks/>
          </p:cNvSpPr>
          <p:nvPr/>
        </p:nvSpPr>
        <p:spPr>
          <a:xfrm>
            <a:off x="11863611" y="6450345"/>
            <a:ext cx="32838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8</a:t>
            </a:fld>
            <a:endParaRPr lang="en-US" b="1" noProof="0">
              <a:solidFill>
                <a:schemeClr val="accent1"/>
              </a:solidFill>
              <a:latin typeface="Arial" panose="020B0604020202020204" pitchFamily="34" charset="0"/>
              <a:cs typeface="Arial" panose="020B0604020202020204" pitchFamily="34" charset="0"/>
            </a:endParaRPr>
          </a:p>
        </p:txBody>
      </p:sp>
      <p:graphicFrame>
        <p:nvGraphicFramePr>
          <p:cNvPr id="13" name="Diagram 12">
            <a:extLst>
              <a:ext uri="{FF2B5EF4-FFF2-40B4-BE49-F238E27FC236}">
                <a16:creationId xmlns:a16="http://schemas.microsoft.com/office/drawing/2014/main" id="{D59ECC49-5A7C-516E-F415-9986DACC94B5}"/>
              </a:ext>
            </a:extLst>
          </p:cNvPr>
          <p:cNvGraphicFramePr/>
          <p:nvPr>
            <p:extLst>
              <p:ext uri="{D42A27DB-BD31-4B8C-83A1-F6EECF244321}">
                <p14:modId xmlns:p14="http://schemas.microsoft.com/office/powerpoint/2010/main" val="270026455"/>
              </p:ext>
            </p:extLst>
          </p:nvPr>
        </p:nvGraphicFramePr>
        <p:xfrm>
          <a:off x="670849" y="6489645"/>
          <a:ext cx="6414005" cy="346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Picture 13" descr="A close-up of blue text&#10;&#10;AI-generated content may be incorrect.">
            <a:extLst>
              <a:ext uri="{FF2B5EF4-FFF2-40B4-BE49-F238E27FC236}">
                <a16:creationId xmlns:a16="http://schemas.microsoft.com/office/drawing/2014/main" id="{D15372AB-EBD3-979B-2BA0-32AB72546BA3}"/>
              </a:ext>
            </a:extLst>
          </p:cNvPr>
          <p:cNvPicPr>
            <a:picLocks noChangeAspect="1"/>
          </p:cNvPicPr>
          <p:nvPr/>
        </p:nvPicPr>
        <p:blipFill>
          <a:blip r:embed="rId7"/>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144562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61" grpId="0" animBg="1"/>
      <p:bldP spid="4" grpId="0" animBg="1"/>
      <p:bldP spid="18" grpId="0" animBg="1"/>
      <p:bldP spid="19" grpId="0" animBg="1"/>
      <p:bldP spid="26" grpId="0" animBg="1"/>
      <p:bldP spid="62" grpId="0" animBg="1"/>
      <p:bldP spid="74" grpId="0" animBg="1"/>
      <p:bldP spid="75" grpId="0" animBg="1"/>
      <p:bldP spid="76" grpId="0" animBg="1"/>
      <p:bldP spid="78" grpId="0"/>
      <p:bldP spid="79" grpId="0"/>
      <p:bldP spid="81" grpId="0"/>
      <p:bldP spid="83" grpId="0"/>
      <p:bldP spid="5" grpId="0" animBg="1"/>
      <p:bldP spid="6" grpId="0" animBg="1"/>
      <p:bldP spid="7" grpId="0" animBg="1"/>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a:extLst>
            <a:ext uri="{FF2B5EF4-FFF2-40B4-BE49-F238E27FC236}">
              <a16:creationId xmlns:a16="http://schemas.microsoft.com/office/drawing/2014/main" id="{FEF465EE-02B1-3310-7601-DBEF0E3FE79C}"/>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573BC6DE-5496-7729-1412-058ED6651B45}"/>
              </a:ext>
            </a:extLst>
          </p:cNvPr>
          <p:cNvSpPr txBox="1">
            <a:spLocks/>
          </p:cNvSpPr>
          <p:nvPr/>
        </p:nvSpPr>
        <p:spPr>
          <a:xfrm>
            <a:off x="668308" y="3468080"/>
            <a:ext cx="6786839" cy="2982264"/>
          </a:xfrm>
          <a:prstGeom prst="rect">
            <a:avLst/>
          </a:prstGeom>
        </p:spPr>
        <p:txBody>
          <a:bodyPr>
            <a:norm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2000" noProof="0">
                <a:solidFill>
                  <a:schemeClr val="accent1"/>
                </a:solidFill>
              </a:rPr>
              <a:t>Project Executive Summary</a:t>
            </a:r>
          </a:p>
          <a:p>
            <a:pPr>
              <a:buFont typeface="+mj-lt"/>
              <a:buAutoNum type="arabicPeriod"/>
            </a:pPr>
            <a:r>
              <a:rPr lang="en-US" sz="2000" noProof="0">
                <a:solidFill>
                  <a:schemeClr val="accent1"/>
                </a:solidFill>
              </a:rPr>
              <a:t>Market Research</a:t>
            </a:r>
          </a:p>
          <a:p>
            <a:pPr>
              <a:buFont typeface="+mj-lt"/>
              <a:buAutoNum type="arabicPeriod"/>
            </a:pPr>
            <a:r>
              <a:rPr lang="en-US" sz="2000" noProof="0">
                <a:solidFill>
                  <a:schemeClr val="accent1"/>
                </a:solidFill>
              </a:rPr>
              <a:t>Key Insights &amp; Rate Structure Benchmarking</a:t>
            </a:r>
          </a:p>
          <a:p>
            <a:pPr>
              <a:buFont typeface="+mj-lt"/>
              <a:buAutoNum type="arabicPeriod"/>
            </a:pPr>
            <a:r>
              <a:rPr lang="en-US" sz="2000" noProof="0">
                <a:solidFill>
                  <a:schemeClr val="accent1"/>
                </a:solidFill>
              </a:rPr>
              <a:t>Marketing Campaign</a:t>
            </a:r>
          </a:p>
          <a:p>
            <a:pPr>
              <a:buFont typeface="+mj-lt"/>
              <a:buAutoNum type="arabicPeriod"/>
            </a:pPr>
            <a:r>
              <a:rPr lang="en-US" sz="2000" noProof="0">
                <a:solidFill>
                  <a:schemeClr val="accent1"/>
                </a:solidFill>
              </a:rPr>
              <a:t>Recommendations</a:t>
            </a:r>
          </a:p>
        </p:txBody>
      </p:sp>
      <p:sp>
        <p:nvSpPr>
          <p:cNvPr id="6" name="Rectangle 5">
            <a:extLst>
              <a:ext uri="{FF2B5EF4-FFF2-40B4-BE49-F238E27FC236}">
                <a16:creationId xmlns:a16="http://schemas.microsoft.com/office/drawing/2014/main" id="{1E359B0A-3C24-A627-D837-4F618A4070D3}"/>
              </a:ext>
            </a:extLst>
          </p:cNvPr>
          <p:cNvSpPr/>
          <p:nvPr/>
        </p:nvSpPr>
        <p:spPr>
          <a:xfrm>
            <a:off x="0" y="279400"/>
            <a:ext cx="277792" cy="65785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 name="Group 10">
            <a:extLst>
              <a:ext uri="{FF2B5EF4-FFF2-40B4-BE49-F238E27FC236}">
                <a16:creationId xmlns:a16="http://schemas.microsoft.com/office/drawing/2014/main" id="{5E7DBA8B-51F7-E4CE-4E64-A31E615E35CA}"/>
              </a:ext>
            </a:extLst>
          </p:cNvPr>
          <p:cNvGrpSpPr/>
          <p:nvPr/>
        </p:nvGrpSpPr>
        <p:grpSpPr>
          <a:xfrm>
            <a:off x="0" y="1"/>
            <a:ext cx="277813" cy="276924"/>
            <a:chOff x="0" y="0"/>
            <a:chExt cx="555625" cy="553847"/>
          </a:xfrm>
        </p:grpSpPr>
        <p:sp>
          <p:nvSpPr>
            <p:cNvPr id="13" name="Freeform 11">
              <a:extLst>
                <a:ext uri="{FF2B5EF4-FFF2-40B4-BE49-F238E27FC236}">
                  <a16:creationId xmlns:a16="http://schemas.microsoft.com/office/drawing/2014/main" id="{B95BA8DC-F620-F34E-8130-09F80FAA4059}"/>
                </a:ext>
              </a:extLst>
            </p:cNvPr>
            <p:cNvSpPr/>
            <p:nvPr/>
          </p:nvSpPr>
          <p:spPr>
            <a:xfrm>
              <a:off x="0" y="0"/>
              <a:ext cx="555625" cy="553847"/>
            </a:xfrm>
            <a:custGeom>
              <a:avLst/>
              <a:gdLst/>
              <a:ahLst/>
              <a:cxnLst/>
              <a:rect l="l" t="t" r="r" b="b"/>
              <a:pathLst>
                <a:path w="555625" h="553847">
                  <a:moveTo>
                    <a:pt x="0" y="0"/>
                  </a:moveTo>
                  <a:lnTo>
                    <a:pt x="555625" y="0"/>
                  </a:lnTo>
                  <a:lnTo>
                    <a:pt x="555625" y="553847"/>
                  </a:lnTo>
                  <a:lnTo>
                    <a:pt x="0" y="553847"/>
                  </a:lnTo>
                  <a:close/>
                </a:path>
              </a:pathLst>
            </a:custGeom>
            <a:solidFill>
              <a:srgbClr val="003493"/>
            </a:solidFill>
          </p:spPr>
          <p:txBody>
            <a:bodyPr/>
            <a:lstStyle/>
            <a:p>
              <a:endParaRPr lang="en-US" sz="1200" noProof="0">
                <a:solidFill>
                  <a:schemeClr val="accent1"/>
                </a:solidFill>
                <a:latin typeface="Arial" panose="020B0604020202020204" pitchFamily="34" charset="0"/>
                <a:cs typeface="Arial" panose="020B0604020202020204" pitchFamily="34" charset="0"/>
              </a:endParaRPr>
            </a:p>
          </p:txBody>
        </p:sp>
      </p:grpSp>
      <p:sp>
        <p:nvSpPr>
          <p:cNvPr id="16" name="Text Placeholder 1">
            <a:extLst>
              <a:ext uri="{FF2B5EF4-FFF2-40B4-BE49-F238E27FC236}">
                <a16:creationId xmlns:a16="http://schemas.microsoft.com/office/drawing/2014/main" id="{BA4A6FEE-46DC-0277-62DD-1FDEABC01A55}"/>
              </a:ext>
            </a:extLst>
          </p:cNvPr>
          <p:cNvSpPr txBox="1">
            <a:spLocks/>
          </p:cNvSpPr>
          <p:nvPr/>
        </p:nvSpPr>
        <p:spPr>
          <a:xfrm>
            <a:off x="668307" y="2436497"/>
            <a:ext cx="9794129" cy="533974"/>
          </a:xfrm>
          <a:prstGeom prst="rect">
            <a:avLst/>
          </a:prstGeom>
        </p:spPr>
        <p:txBody>
          <a:bodyPr>
            <a:noAutofit/>
          </a:bodyPr>
          <a:lstStyle>
            <a:lvl1pPr marL="457200" indent="-457200" algn="l" defTabSz="914400" rtl="0" eaLnBrk="1" latinLnBrk="0" hangingPunct="1">
              <a:lnSpc>
                <a:spcPct val="90000"/>
              </a:lnSpc>
              <a:spcBef>
                <a:spcPts val="1000"/>
              </a:spcBef>
              <a:buClr>
                <a:schemeClr val="accent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accent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chemeClr val="accent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114550" indent="-285750" algn="l" defTabSz="914400" rtl="0" eaLnBrk="1" latinLnBrk="0" hangingPunct="1">
              <a:lnSpc>
                <a:spcPct val="90000"/>
              </a:lnSpc>
              <a:spcBef>
                <a:spcPts val="500"/>
              </a:spcBef>
              <a:buClr>
                <a:schemeClr val="accent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4400" b="1" noProof="0">
                <a:solidFill>
                  <a:schemeClr val="accent1"/>
                </a:solidFill>
              </a:rPr>
              <a:t>Part 2: Data Centers Strategy</a:t>
            </a:r>
          </a:p>
        </p:txBody>
      </p:sp>
      <p:sp>
        <p:nvSpPr>
          <p:cNvPr id="19" name="Slide Number Placeholder 23">
            <a:extLst>
              <a:ext uri="{FF2B5EF4-FFF2-40B4-BE49-F238E27FC236}">
                <a16:creationId xmlns:a16="http://schemas.microsoft.com/office/drawing/2014/main" id="{99FA6B1B-2E0E-A257-0F43-809478B5DFE3}"/>
              </a:ext>
            </a:extLst>
          </p:cNvPr>
          <p:cNvSpPr txBox="1">
            <a:spLocks/>
          </p:cNvSpPr>
          <p:nvPr/>
        </p:nvSpPr>
        <p:spPr>
          <a:xfrm>
            <a:off x="11742821" y="6450345"/>
            <a:ext cx="44917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6F15528-21DE-4FAA-801E-634DDDAF4B2B}" type="slidenum">
              <a:rPr lang="en-US" b="1" noProof="0" smtClean="0">
                <a:solidFill>
                  <a:schemeClr val="accent1"/>
                </a:solidFill>
                <a:latin typeface="Arial" panose="020B0604020202020204" pitchFamily="34" charset="0"/>
                <a:cs typeface="Arial" panose="020B0604020202020204" pitchFamily="34" charset="0"/>
              </a:rPr>
              <a:pPr/>
              <a:t>9</a:t>
            </a:fld>
            <a:endParaRPr lang="en-US" b="1" noProof="0">
              <a:solidFill>
                <a:schemeClr val="accent1"/>
              </a:solidFill>
              <a:latin typeface="Arial" panose="020B0604020202020204" pitchFamily="34" charset="0"/>
              <a:cs typeface="Arial" panose="020B0604020202020204" pitchFamily="34" charset="0"/>
            </a:endParaRPr>
          </a:p>
        </p:txBody>
      </p:sp>
      <p:pic>
        <p:nvPicPr>
          <p:cNvPr id="2" name="Picture 1" descr="A close-up of blue text&#10;&#10;AI-generated content may be incorrect.">
            <a:extLst>
              <a:ext uri="{FF2B5EF4-FFF2-40B4-BE49-F238E27FC236}">
                <a16:creationId xmlns:a16="http://schemas.microsoft.com/office/drawing/2014/main" id="{11C23383-9352-1B64-F29E-F7A2F59EE949}"/>
              </a:ext>
            </a:extLst>
          </p:cNvPr>
          <p:cNvPicPr>
            <a:picLocks noChangeAspect="1"/>
          </p:cNvPicPr>
          <p:nvPr/>
        </p:nvPicPr>
        <p:blipFill>
          <a:blip r:embed="rId2"/>
          <a:stretch>
            <a:fillRect/>
          </a:stretch>
        </p:blipFill>
        <p:spPr>
          <a:xfrm>
            <a:off x="7801586" y="5979638"/>
            <a:ext cx="4666600" cy="1120163"/>
          </a:xfrm>
          <a:prstGeom prst="rect">
            <a:avLst/>
          </a:prstGeom>
        </p:spPr>
      </p:pic>
    </p:spTree>
    <p:extLst>
      <p:ext uri="{BB962C8B-B14F-4D97-AF65-F5344CB8AC3E}">
        <p14:creationId xmlns:p14="http://schemas.microsoft.com/office/powerpoint/2010/main" val="3920620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rgbClr val="000000"/>
      </a:dk1>
      <a:lt1>
        <a:srgbClr val="FFFFFF"/>
      </a:lt1>
      <a:dk2>
        <a:srgbClr val="75787B"/>
      </a:dk2>
      <a:lt2>
        <a:srgbClr val="E7E6E6"/>
      </a:lt2>
      <a:accent1>
        <a:srgbClr val="003493"/>
      </a:accent1>
      <a:accent2>
        <a:srgbClr val="FFB81C"/>
      </a:accent2>
      <a:accent3>
        <a:srgbClr val="B87333"/>
      </a:accent3>
      <a:accent4>
        <a:srgbClr val="D6E3E8"/>
      </a:accent4>
      <a:accent5>
        <a:srgbClr val="000000"/>
      </a:accent5>
      <a:accent6>
        <a:srgbClr val="000000"/>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3553D63C3F7544B827DA8755FB9C76" ma:contentTypeVersion="11" ma:contentTypeDescription="Create a new document." ma:contentTypeScope="" ma:versionID="9873363d5fdae0130a9836b15819c4a0">
  <xsd:schema xmlns:xsd="http://www.w3.org/2001/XMLSchema" xmlns:xs="http://www.w3.org/2001/XMLSchema" xmlns:p="http://schemas.microsoft.com/office/2006/metadata/properties" xmlns:ns2="0e960bcf-72a5-46e0-907c-57a93e1f3f1d" targetNamespace="http://schemas.microsoft.com/office/2006/metadata/properties" ma:root="true" ma:fieldsID="69c36fc1575f316d4476906b7215fbdd" ns2:_="">
    <xsd:import namespace="0e960bcf-72a5-46e0-907c-57a93e1f3f1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960bcf-72a5-46e0-907c-57a93e1f3f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b90debd-ee09-4e04-a4c4-812a7ed26ded"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e960bcf-72a5-46e0-907c-57a93e1f3f1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5683BC-C22E-48A5-88C9-33C408B6FE71}">
  <ds:schemaRefs>
    <ds:schemaRef ds:uri="0e960bcf-72a5-46e0-907c-57a93e1f3f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126053B1-FB25-47B8-B920-DBA6E93DD479}">
  <ds:schemaRefs>
    <ds:schemaRef ds:uri="0e960bcf-72a5-46e0-907c-57a93e1f3f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1D7369F-157A-473B-8B5D-58E7995A6F6C}">
  <ds:schemaRefs>
    <ds:schemaRef ds:uri="http://schemas.microsoft.com/sharepoint/v3/contenttype/forms"/>
  </ds:schemaRefs>
</ds:datastoreItem>
</file>

<file path=docMetadata/LabelInfo.xml><?xml version="1.0" encoding="utf-8"?>
<clbl:labelList xmlns:clbl="http://schemas.microsoft.com/office/2020/mipLabelMetadata">
  <clbl:label id="{9ef9f489-e0a0-4eeb-87cc-3a526112fd0d}" enabled="0" method="" siteId="{9ef9f489-e0a0-4eeb-87cc-3a526112fd0d}"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2</Slides>
  <Notes>6</Notes>
  <HiddenSlides>0</HiddenSlide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esh, Zachary</dc:creator>
  <cp:revision>2</cp:revision>
  <dcterms:created xsi:type="dcterms:W3CDTF">2023-04-18T08:30:07Z</dcterms:created>
  <dcterms:modified xsi:type="dcterms:W3CDTF">2025-06-06T18:3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3553D63C3F7544B827DA8755FB9C76</vt:lpwstr>
  </property>
  <property fmtid="{D5CDD505-2E9C-101B-9397-08002B2CF9AE}" pid="3" name="MediaServiceImageTags">
    <vt:lpwstr/>
  </property>
</Properties>
</file>